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theme/themeOverride5.xml" ContentType="application/vnd.openxmlformats-officedocument.themeOverride+xml"/>
  <Override PartName="/ppt/theme/themeOverride6.xml" ContentType="application/vnd.openxmlformats-officedocument.themeOverride+xml"/>
  <Override PartName="/ppt/theme/themeOverride7.xml" ContentType="application/vnd.openxmlformats-officedocument.themeOverride+xml"/>
  <Override PartName="/ppt/theme/themeOverride8.xml" ContentType="application/vnd.openxmlformats-officedocument.themeOverride+xml"/>
  <Override PartName="/ppt/theme/themeOverride9.xml" ContentType="application/vnd.openxmlformats-officedocument.themeOverr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1" r:id="rId2"/>
  </p:sldMasterIdLst>
  <p:notesMasterIdLst>
    <p:notesMasterId r:id="rId28"/>
  </p:notesMasterIdLst>
  <p:sldIdLst>
    <p:sldId id="256" r:id="rId3"/>
    <p:sldId id="298" r:id="rId4"/>
    <p:sldId id="2134806607" r:id="rId5"/>
    <p:sldId id="2134806608" r:id="rId6"/>
    <p:sldId id="323" r:id="rId7"/>
    <p:sldId id="315" r:id="rId8"/>
    <p:sldId id="316" r:id="rId9"/>
    <p:sldId id="317" r:id="rId10"/>
    <p:sldId id="2134806610" r:id="rId11"/>
    <p:sldId id="2134806611" r:id="rId12"/>
    <p:sldId id="320" r:id="rId13"/>
    <p:sldId id="322" r:id="rId14"/>
    <p:sldId id="321" r:id="rId15"/>
    <p:sldId id="302" r:id="rId16"/>
    <p:sldId id="301" r:id="rId17"/>
    <p:sldId id="2134806602" r:id="rId18"/>
    <p:sldId id="303" r:id="rId19"/>
    <p:sldId id="304" r:id="rId20"/>
    <p:sldId id="2134806603" r:id="rId21"/>
    <p:sldId id="2134806604" r:id="rId22"/>
    <p:sldId id="305" r:id="rId23"/>
    <p:sldId id="2134806605" r:id="rId24"/>
    <p:sldId id="306" r:id="rId25"/>
    <p:sldId id="2134806606" r:id="rId26"/>
    <p:sldId id="2134806609" r:id="rId2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arketing Tech Award – Intro" id="{EC8F45B4-ED24-9545-ABB6-8EAF34813E74}">
          <p14:sldIdLst>
            <p14:sldId id="256"/>
            <p14:sldId id="298"/>
            <p14:sldId id="2134806607"/>
            <p14:sldId id="2134806608"/>
          </p14:sldIdLst>
        </p14:section>
        <p14:section name="Bewerbungsunterlagen" id="{8050313E-C3D4-8544-A946-C88DCE7D7559}">
          <p14:sldIdLst>
            <p14:sldId id="323"/>
            <p14:sldId id="315"/>
            <p14:sldId id="316"/>
            <p14:sldId id="317"/>
            <p14:sldId id="2134806610"/>
            <p14:sldId id="2134806611"/>
            <p14:sldId id="320"/>
            <p14:sldId id="322"/>
            <p14:sldId id="321"/>
          </p14:sldIdLst>
        </p14:section>
        <p14:section name="Case Inspiration – Struktur" id="{48DB6B75-DDA6-F943-A465-1F1C2EE47A1F}">
          <p14:sldIdLst>
            <p14:sldId id="302"/>
          </p14:sldIdLst>
        </p14:section>
        <p14:section name="Case Inspiration – Funktionen" id="{C1580789-8C6E-DF47-97D4-B7520987991E}">
          <p14:sldIdLst>
            <p14:sldId id="301"/>
            <p14:sldId id="2134806602"/>
          </p14:sldIdLst>
        </p14:section>
        <p14:section name="Case Inspiration – Wertschöpfung" id="{A8A294F5-AE86-5F40-BDAF-0E7A57774CB0}">
          <p14:sldIdLst>
            <p14:sldId id="303"/>
            <p14:sldId id="304"/>
            <p14:sldId id="2134806603"/>
            <p14:sldId id="2134806604"/>
          </p14:sldIdLst>
        </p14:section>
        <p14:section name="Case Inspiration – Customer Journey Phasen" id="{CA481C96-5248-C14F-8630-FF672840CADC}">
          <p14:sldIdLst>
            <p14:sldId id="305"/>
            <p14:sldId id="2134806605"/>
          </p14:sldIdLst>
        </p14:section>
        <p14:section name="Case Inspiration – Intere Wertschöpfung &amp; Kunden-Funnel" id="{B7B3EA9A-6C82-5345-9159-DAF7FAD2254D}">
          <p14:sldIdLst>
            <p14:sldId id="306"/>
            <p14:sldId id="2134806606"/>
          </p14:sldIdLst>
        </p14:section>
        <p14:section name="Marketing Tech Lab – Marketing Tech Award" id="{BAADFF60-410A-0145-A185-38DA05212B1C}">
          <p14:sldIdLst>
            <p14:sldId id="213480660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4F68"/>
    <a:srgbClr val="F8F0D3"/>
    <a:srgbClr val="037082"/>
    <a:srgbClr val="FEF1CB"/>
    <a:srgbClr val="F8AE00"/>
    <a:srgbClr val="156082"/>
    <a:srgbClr val="868686"/>
    <a:srgbClr val="C4C3C3"/>
    <a:srgbClr val="2EB8C5"/>
    <a:srgbClr val="0E4D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27"/>
    <p:restoredTop sz="94654"/>
  </p:normalViewPr>
  <p:slideViewPr>
    <p:cSldViewPr snapToGrid="0">
      <p:cViewPr varScale="1">
        <p:scale>
          <a:sx n="155" d="100"/>
          <a:sy n="155" d="100"/>
        </p:scale>
        <p:origin x="99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155EC5-B3E4-7E49-872C-1F01184E1F1C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12DC0C-7A17-6141-BE82-FA1E6449CC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7284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2DC0C-7A17-6141-BE82-FA1E6449CC82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8530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2DC0C-7A17-6141-BE82-FA1E6449CC82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634826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15A20C-0855-0246-362E-74659CDC70B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EA62450-A9AF-73D9-C31E-E04E9286034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4B3B7D3-577F-CFA6-907C-99C9087590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440385-98C7-2110-A40A-66B9E435F847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2DC0C-7A17-6141-BE82-FA1E6449CC82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6263359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2F65E-EA99-4929-8E56-B5A2823D8036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600799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A1E358-B0A3-8D22-88E6-B697D17B71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416E5CEC-FE70-E05B-726E-C06A59F5AB4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40AEF86-5159-FAC8-AA1A-73098E236F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BDF866C-65EE-500D-BDCD-B965E97C78B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12DC0C-7A17-6141-BE82-FA1E6449CC82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989146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4A0A999-7862-E74E-5E8B-5BA6DCF00BE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D1A2EB50-E193-CCAF-0FB2-3BF397C00A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831287D6-92BA-0B87-B188-C64BB8BA2A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5F4F02A-0B12-F2E7-98EB-0CFFD809EDC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2F65E-EA99-4929-8E56-B5A2823D8036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50553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8940FC4-A38C-5AB6-A2F7-2F31077EEE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8BD3AAFE-D27A-6323-A7EE-DAF1A33A6C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07C037B-C9AD-27E7-82D9-2373B31EFE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042805-4E58-965D-A7DA-608C0502CA3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2F65E-EA99-4929-8E56-B5A2823D8036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07091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B275261-9C2E-BC9E-96C3-5C03DF23707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58ABAF8E-5B57-9349-5B23-F68CB48141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1834A2D3-606F-6FC0-D9F2-B10509A214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3E0511B-3F9C-6990-5DFB-17975A9E92A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2F65E-EA99-4929-8E56-B5A2823D8036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885246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2BC1C88-76F7-DB08-0460-34AD2F0208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1F4AD8E4-47AF-862A-214E-76A0B23213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038B4F35-3052-0AF7-4B02-6EE1E9F33E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815EB3F-591B-E14E-D11B-DAA76911D0D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022F65E-EA99-4929-8E56-B5A2823D8036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9537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6023AE-FAE7-9149-A236-58AA2E27CB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E7EE059A-442A-E809-4711-CD77D39E3A2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9C00775-AB40-BA7D-F0B4-878E99C5D56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9860C5B-817B-E033-259D-BF1B764F94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7AF837C-AA55-2F8F-3219-1EF273A85D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490150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35EBF-BEC3-A971-D090-076C94EABF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933C5BA-7986-6DAA-1DA8-BA9CD35D1F7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DC5F07-1878-0980-5D7D-9190F490A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31A3ABF-A310-29DB-726F-E6BB2D3E6B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F6FC84F-D03C-52A2-E745-707B93044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31924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A79EBD6E-3A3B-D7E3-EFE9-7C040258621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9A45B4C-2E20-A389-C091-E2510A120E7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777CDA4F-0720-4B35-A04B-A4E0F1AF98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3B016E1-8A6E-5E84-12F7-5A96A2E438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A796A8-F152-AA04-3AFE-B15D67BD8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40675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TM23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2EBF5D58-C147-BFC0-934C-4E7E653D3B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67070"/>
            <a:ext cx="12192000" cy="306803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B0206061-86CD-795D-4F80-EEC223BFAE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3838" y="1222898"/>
            <a:ext cx="9678340" cy="1178452"/>
          </a:xfrm>
          <a:prstGeom prst="rect">
            <a:avLst/>
          </a:prstGeom>
        </p:spPr>
        <p:txBody>
          <a:bodyPr lIns="90000"/>
          <a:lstStyle>
            <a:lvl1pPr marL="0" indent="0">
              <a:lnSpc>
                <a:spcPts val="2566"/>
              </a:lnSpc>
              <a:buFontTx/>
              <a:buNone/>
              <a:tabLst>
                <a:tab pos="296672" algn="l"/>
              </a:tabLst>
              <a:defRPr sz="1905" b="1" i="0" baseline="0">
                <a:solidFill>
                  <a:schemeClr val="bg2"/>
                </a:solidFill>
                <a:latin typeface="Kefa II Pro Book" panose="02000403000000020003" pitchFamily="2" charset="77"/>
              </a:defRPr>
            </a:lvl1pPr>
            <a:lvl2pPr marL="272345" indent="0">
              <a:buFontTx/>
              <a:buNone/>
              <a:defRPr/>
            </a:lvl2pPr>
            <a:lvl3pPr marL="544689" indent="0">
              <a:buFontTx/>
              <a:buNone/>
              <a:defRPr/>
            </a:lvl3pPr>
            <a:lvl4pPr marL="817036" indent="0">
              <a:buFontTx/>
              <a:buNone/>
              <a:defRPr/>
            </a:lvl4pPr>
            <a:lvl5pPr marL="1089381" indent="0">
              <a:buFontTx/>
              <a:buNone/>
              <a:defRPr/>
            </a:lvl5pPr>
          </a:lstStyle>
          <a:p>
            <a:pPr>
              <a:lnSpc>
                <a:spcPts val="5698"/>
              </a:lnSpc>
              <a:tabLst>
                <a:tab pos="658686" algn="l"/>
              </a:tabLst>
            </a:pPr>
            <a:endParaRPr lang="de-DE" sz="1747" dirty="0">
              <a:solidFill>
                <a:schemeClr val="bg2"/>
              </a:solidFill>
              <a:latin typeface="Kefa II Pro Medium" panose="02000403000000020003" pitchFamily="2" charset="77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18409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8F2833A-02EB-4D08-99BB-AEE5C3BF0A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1810294"/>
              </p:ext>
            </p:ext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8F2833A-02EB-4D08-99BB-AEE5C3BF0A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0417" y="3151229"/>
            <a:ext cx="6841711" cy="61985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>
              <a:spcBef>
                <a:spcPts val="0"/>
              </a:spcBef>
              <a:defRPr lang="en-US" sz="3000" dirty="0">
                <a:solidFill>
                  <a:schemeClr val="accent3"/>
                </a:solidFill>
                <a:latin typeface="Roboto Medium" panose="02000000000000000000" pitchFamily="2" charset="0"/>
                <a:ea typeface="+mn-ea"/>
                <a:cs typeface="Segoe UI Semibold" panose="020B0702040204020203" pitchFamily="34" charset="0"/>
              </a:defRPr>
            </a:lvl1pPr>
          </a:lstStyle>
          <a:p>
            <a:pPr marL="0" lvl="0" indent="0" defTabSz="914373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</a:pPr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0417" y="3966646"/>
            <a:ext cx="6841711" cy="372991"/>
          </a:xfrm>
        </p:spPr>
        <p:txBody>
          <a:bodyPr vert="horz" lIns="0" tIns="0" rIns="0" bIns="0" rtlCol="0" anchor="b"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600" dirty="0">
                <a:solidFill>
                  <a:schemeClr val="tx1"/>
                </a:solidFill>
                <a:latin typeface="+mj-lt"/>
                <a:ea typeface="+mj-ea"/>
                <a:cs typeface="Segoe UI" panose="020B0502040204020203" pitchFamily="34" charset="0"/>
              </a:defRPr>
            </a:lvl1pPr>
            <a:lvl2pPr marL="342898" indent="0" algn="ctr">
              <a:buNone/>
              <a:defRPr sz="1500"/>
            </a:lvl2pPr>
            <a:lvl3pPr marL="685796" indent="0" algn="ctr">
              <a:buNone/>
              <a:defRPr sz="1350"/>
            </a:lvl3pPr>
            <a:lvl4pPr marL="1028694" indent="0" algn="ctr">
              <a:buNone/>
              <a:defRPr sz="1200"/>
            </a:lvl4pPr>
            <a:lvl5pPr marL="1371592" indent="0" algn="ctr">
              <a:buNone/>
              <a:defRPr sz="1200"/>
            </a:lvl5pPr>
            <a:lvl6pPr marL="1714490" indent="0" algn="ctr">
              <a:buNone/>
              <a:defRPr sz="1200"/>
            </a:lvl6pPr>
            <a:lvl7pPr marL="2057388" indent="0" algn="ctr">
              <a:buNone/>
              <a:defRPr sz="1200"/>
            </a:lvl7pPr>
            <a:lvl8pPr marL="2400286" indent="0" algn="ctr">
              <a:buNone/>
              <a:defRPr sz="1200"/>
            </a:lvl8pPr>
            <a:lvl9pPr marL="2743185" indent="0" algn="ctr">
              <a:buNone/>
              <a:defRPr sz="1200"/>
            </a:lvl9pPr>
          </a:lstStyle>
          <a:p>
            <a:pPr lvl="0" defTabSz="914373">
              <a:spcBef>
                <a:spcPct val="0"/>
              </a:spcBef>
              <a:buNone/>
            </a:pPr>
            <a:r>
              <a:rPr lang="de-DE" dirty="0"/>
              <a:t>Master-Untertitelformat bearbeiten</a:t>
            </a:r>
            <a:endParaRPr lang="en-US" dirty="0"/>
          </a:p>
        </p:txBody>
      </p:sp>
      <p:cxnSp>
        <p:nvCxnSpPr>
          <p:cNvPr id="26" name="Gerade Verbindung 2">
            <a:extLst>
              <a:ext uri="{FF2B5EF4-FFF2-40B4-BE49-F238E27FC236}">
                <a16:creationId xmlns:a16="http://schemas.microsoft.com/office/drawing/2014/main" id="{E4D109CC-0E4E-4DBF-B555-0CE0CDE570AF}"/>
              </a:ext>
            </a:extLst>
          </p:cNvPr>
          <p:cNvCxnSpPr>
            <a:cxnSpLocks/>
          </p:cNvCxnSpPr>
          <p:nvPr/>
        </p:nvCxnSpPr>
        <p:spPr>
          <a:xfrm>
            <a:off x="4120417" y="4458257"/>
            <a:ext cx="1914297" cy="0"/>
          </a:xfrm>
          <a:prstGeom prst="line">
            <a:avLst/>
          </a:prstGeom>
          <a:ln w="34925">
            <a:solidFill>
              <a:srgbClr val="25B8C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22">
            <a:extLst>
              <a:ext uri="{FF2B5EF4-FFF2-40B4-BE49-F238E27FC236}">
                <a16:creationId xmlns:a16="http://schemas.microsoft.com/office/drawing/2014/main" id="{A3C1DD45-1657-44B0-828A-490CC6D3BCB8}"/>
              </a:ext>
            </a:extLst>
          </p:cNvPr>
          <p:cNvSpPr/>
          <p:nvPr/>
        </p:nvSpPr>
        <p:spPr>
          <a:xfrm>
            <a:off x="0" y="6549701"/>
            <a:ext cx="12192000" cy="308301"/>
          </a:xfrm>
          <a:prstGeom prst="rect">
            <a:avLst/>
          </a:prstGeom>
          <a:solidFill>
            <a:srgbClr val="016D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112"/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4CC73444-A971-4CC1-BE78-C609C46E7B4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20416" y="4566233"/>
            <a:ext cx="6841566" cy="656167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tx1"/>
                </a:solidFill>
                <a:latin typeface="+mj-lt"/>
                <a:cs typeface="Segoe UI Semibold" panose="020B0702040204020203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de-DE" dirty="0"/>
          </a:p>
        </p:txBody>
      </p:sp>
      <p:sp>
        <p:nvSpPr>
          <p:cNvPr id="73" name="Title Placeholder 1">
            <a:extLst>
              <a:ext uri="{FF2B5EF4-FFF2-40B4-BE49-F238E27FC236}">
                <a16:creationId xmlns:a16="http://schemas.microsoft.com/office/drawing/2014/main" id="{90A692F6-EC88-4441-ACE3-2BEC31897735}"/>
              </a:ext>
            </a:extLst>
          </p:cNvPr>
          <p:cNvSpPr txBox="1">
            <a:spLocks/>
          </p:cNvSpPr>
          <p:nvPr/>
        </p:nvSpPr>
        <p:spPr>
          <a:xfrm>
            <a:off x="873370" y="6649989"/>
            <a:ext cx="5904000" cy="10772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defTabSz="914373"/>
            <a:r>
              <a:rPr lang="de-DE" sz="700" dirty="0">
                <a:solidFill>
                  <a:schemeClr val="accent1"/>
                </a:solidFill>
                <a:latin typeface="Roboto" panose="02000000000000000000" pitchFamily="2" charset="0"/>
                <a:cs typeface="Segoe UI" panose="020B0502040204020203" pitchFamily="34" charset="0"/>
              </a:rPr>
              <a:t>© Marketing Tech Lab GmbH</a:t>
            </a:r>
          </a:p>
        </p:txBody>
      </p:sp>
      <p:sp>
        <p:nvSpPr>
          <p:cNvPr id="74" name="Title Placeholder 1">
            <a:extLst>
              <a:ext uri="{FF2B5EF4-FFF2-40B4-BE49-F238E27FC236}">
                <a16:creationId xmlns:a16="http://schemas.microsoft.com/office/drawing/2014/main" id="{3BC35E3F-742B-480A-8E4E-2E4C390FAFA1}"/>
              </a:ext>
            </a:extLst>
          </p:cNvPr>
          <p:cNvSpPr txBox="1">
            <a:spLocks/>
          </p:cNvSpPr>
          <p:nvPr/>
        </p:nvSpPr>
        <p:spPr>
          <a:xfrm>
            <a:off x="5725684" y="6649989"/>
            <a:ext cx="5904000" cy="10772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>
            <a:lvl1pPr algn="l" defTabSz="6858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1600" kern="1200" dirty="0">
                <a:solidFill>
                  <a:schemeClr val="tx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defRPr>
            </a:lvl1pPr>
          </a:lstStyle>
          <a:p>
            <a:pPr algn="r" defTabSz="914373"/>
            <a:r>
              <a:rPr lang="de-DE" sz="700" dirty="0">
                <a:solidFill>
                  <a:schemeClr val="accent1"/>
                </a:solidFill>
                <a:latin typeface="Roboto" panose="02000000000000000000" pitchFamily="2" charset="0"/>
                <a:cs typeface="Segoe UI" panose="020B0502040204020203" pitchFamily="34" charset="0"/>
              </a:rPr>
              <a:t>marketingtechlab.de</a:t>
            </a:r>
          </a:p>
        </p:txBody>
      </p:sp>
    </p:spTree>
    <p:extLst>
      <p:ext uri="{BB962C8B-B14F-4D97-AF65-F5344CB8AC3E}">
        <p14:creationId xmlns:p14="http://schemas.microsoft.com/office/powerpoint/2010/main" val="25648298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A4E5D13-1D59-45D4-920E-AE321340AD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370" y="365128"/>
            <a:ext cx="8564519" cy="3159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0F967C4-8B99-443C-9AA9-25281AA4DE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962400" y="1309689"/>
            <a:ext cx="7582878" cy="49879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5413600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2606B84-4474-41F9-B446-F8998CE620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7629650"/>
              </p:ext>
            </p:ext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2606B84-4474-41F9-B446-F8998CE62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4A0C0410-3C40-4D6C-B6C4-593A9AFB02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370" y="365128"/>
            <a:ext cx="8564519" cy="315910"/>
          </a:xfrm>
          <a:prstGeom prst="rect">
            <a:avLst/>
          </a:prstGeo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0189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MTM23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Bildplatzhalter 36">
            <a:extLst>
              <a:ext uri="{FF2B5EF4-FFF2-40B4-BE49-F238E27FC236}">
                <a16:creationId xmlns:a16="http://schemas.microsoft.com/office/drawing/2014/main" id="{2EBF5D58-C147-BFC0-934C-4E7E653D3B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567070"/>
            <a:ext cx="12192000" cy="306803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1" name="Textplatzhalter 40">
            <a:extLst>
              <a:ext uri="{FF2B5EF4-FFF2-40B4-BE49-F238E27FC236}">
                <a16:creationId xmlns:a16="http://schemas.microsoft.com/office/drawing/2014/main" id="{B0206061-86CD-795D-4F80-EEC223BFAE6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13838" y="1222898"/>
            <a:ext cx="9678340" cy="1178452"/>
          </a:xfrm>
          <a:prstGeom prst="rect">
            <a:avLst/>
          </a:prstGeom>
        </p:spPr>
        <p:txBody>
          <a:bodyPr lIns="90000"/>
          <a:lstStyle>
            <a:lvl1pPr marL="0" indent="0">
              <a:lnSpc>
                <a:spcPts val="2566"/>
              </a:lnSpc>
              <a:buFontTx/>
              <a:buNone/>
              <a:tabLst>
                <a:tab pos="296672" algn="l"/>
              </a:tabLst>
              <a:defRPr sz="1905" b="1" i="0" baseline="0">
                <a:solidFill>
                  <a:schemeClr val="bg2"/>
                </a:solidFill>
                <a:latin typeface="Kefa II Pro Book" panose="02000403000000020003" pitchFamily="2" charset="77"/>
              </a:defRPr>
            </a:lvl1pPr>
            <a:lvl2pPr marL="272345" indent="0">
              <a:buFontTx/>
              <a:buNone/>
              <a:defRPr/>
            </a:lvl2pPr>
            <a:lvl3pPr marL="544689" indent="0">
              <a:buFontTx/>
              <a:buNone/>
              <a:defRPr/>
            </a:lvl3pPr>
            <a:lvl4pPr marL="817036" indent="0">
              <a:buFontTx/>
              <a:buNone/>
              <a:defRPr/>
            </a:lvl4pPr>
            <a:lvl5pPr marL="1089381" indent="0">
              <a:buFontTx/>
              <a:buNone/>
              <a:defRPr/>
            </a:lvl5pPr>
          </a:lstStyle>
          <a:p>
            <a:pPr>
              <a:lnSpc>
                <a:spcPts val="5698"/>
              </a:lnSpc>
              <a:tabLst>
                <a:tab pos="658686" algn="l"/>
              </a:tabLst>
            </a:pPr>
            <a:endParaRPr lang="de-DE" sz="1747" dirty="0">
              <a:solidFill>
                <a:schemeClr val="bg2"/>
              </a:solidFill>
              <a:latin typeface="Kefa II Pro Medium" panose="02000403000000020003" pitchFamily="2" charset="77"/>
              <a:ea typeface="Roboto Light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70396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0B8D5F5-990D-EEDF-515E-3F42E4B333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9F8D99B-0FAC-3D15-C0CC-AF96733E2B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F546B83-8EB0-7E50-F921-32549686A1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63160E-16F2-7975-A960-28B9AED053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6AB13E8-1254-B413-259E-489802AC4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056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07F5F8C-88C0-6090-B810-09434152C2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4C401B7-A7D7-401A-7792-F410C2C76A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ECB6195-88BA-CAB1-D448-F2FC329A27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5E6684D-5C7F-A374-A599-58700945CA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CB33844-4A63-DEC9-44C4-38F9DEE9D7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65837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FF0518-9350-03A5-8992-C0C0CFE174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AF4CA3-7136-1D04-6A4A-041E5B1EF15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14C7341-4DBE-7497-03F1-8F8847F7A8E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99F02AF-08E7-7484-1245-6433A98E62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7BC9229-6289-4597-8B50-6EC8AEDEC3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86C4DE0-CEF5-DAA6-EAA6-E4C373E5B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65377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EFDB8F-CBF6-4307-1764-57384C9FCC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0E5337B-50C6-4372-F66D-702D094A8C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F5D0C54C-5806-F471-FDB9-88992B7F89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D951876-8DDC-CB4D-C183-0BF061C54C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4B857B1-DAEA-BAC9-EEBC-4DBA6DB1270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F6B484C-1C46-1A27-51E2-A156CF6B7E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A995C4-C0FF-09B7-6625-AE04758AE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16E24F1-6C0A-1A69-C846-171A5521D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512249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1BB200-AAFA-E410-F565-7B7663501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45452A79-8A85-0C4A-01C8-D700B3DE49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7A2CFDE-69E3-0E17-76BE-012DB07152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ED6AAF-904C-1CA0-C62A-3180B3B3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678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19A5DA5-0DA8-66CF-ED5F-A6461BC97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2F366A9-80A8-7D99-5D8F-CBE666B947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4510A3C-6EB2-776B-0E37-9541DC038E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999777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F4C047-38E6-95DA-0157-45BC7B998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5346DA-55D7-8572-9F2E-F489782F18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BA81D8E-1D76-D09F-26EB-2EDEA7405F5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07A46C-8C5D-9F2A-EBA1-11A4C6FFB3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5373FBA-9BC4-C069-D6DF-861877A69A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F122D92-B667-F11F-E748-C0512043D3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72717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F0D4CD3-9036-A552-21EC-C2BD5A9D67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34891AD2-6CA5-7A00-73B7-AAEC28B804C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03D64A11-3492-557C-9F53-F48495C64E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4F8264-AEA9-BDE7-1549-9A64001D8B3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52D143-C1BB-2F59-4507-F750B8F2E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29FFFB2-2193-643D-BEB9-5ED41F26B4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372234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slideLayout" Target="../slideLayouts/slideLayout1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16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07DF4678-A474-7B7E-CD04-3447A6995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CDFE490-0B51-358B-B8CF-0C3115B2A9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024BADD-FC1F-FA69-1F89-381CF05AAB4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8927016-4446-314E-BCB5-F16218EB75D1}" type="datetimeFigureOut">
              <a:rPr lang="de-DE" smtClean="0"/>
              <a:t>14.02.2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4D68F59-D250-27A8-5EA0-61460639D8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1066690-36B9-B230-7E71-9E96A56B97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5698514B-BD80-8549-A3DF-D5B8262A2B5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28534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7">
            <a:lum/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73369" y="1318742"/>
            <a:ext cx="10670496" cy="498622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C94CEB5-D9D7-47CB-9F6A-99152ADD4ECD}"/>
              </a:ext>
            </a:extLst>
          </p:cNvPr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64334982"/>
              </p:ext>
            </p:extLst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47" imgH="348" progId="TCLayout.ActiveDocument.1">
                  <p:embed/>
                </p:oleObj>
              </mc:Choice>
              <mc:Fallback>
                <p:oleObj name="think-cell Slide" r:id="rId9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C94CEB5-D9D7-47CB-9F6A-99152ADD4E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2669576-AB60-44B7-BBEC-DB82D511895B}"/>
              </a:ext>
            </a:extLst>
          </p:cNvPr>
          <p:cNvSpPr txBox="1">
            <a:spLocks/>
          </p:cNvSpPr>
          <p:nvPr/>
        </p:nvSpPr>
        <p:spPr>
          <a:xfrm>
            <a:off x="11830051" y="6297614"/>
            <a:ext cx="339726" cy="402211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fld id="{9AF16EF2-94D5-B340-9779-7E5A8100D451}" type="slidenum">
              <a:rPr lang="en-US" sz="1000" b="0" i="0" baseline="0" smtClean="0">
                <a:solidFill>
                  <a:schemeClr val="tx1"/>
                </a:solidFill>
                <a:latin typeface="+mn-lt"/>
                <a:cs typeface="Calibri Light" panose="020F0302020204030204" pitchFamily="34" charset="0"/>
              </a:rPr>
              <a:t>‹Nr.›</a:t>
            </a:fld>
            <a:endParaRPr lang="en-US" sz="1000" b="0" i="0" baseline="0">
              <a:solidFill>
                <a:schemeClr val="tx1"/>
              </a:solidFill>
              <a:latin typeface="+mn-lt"/>
              <a:cs typeface="Calibri Light" panose="020F0302020204030204" pitchFamily="34" charset="0"/>
            </a:endParaRPr>
          </a:p>
        </p:txBody>
      </p:sp>
      <p:cxnSp>
        <p:nvCxnSpPr>
          <p:cNvPr id="9" name="Gerade Verbindung 16">
            <a:extLst>
              <a:ext uri="{FF2B5EF4-FFF2-40B4-BE49-F238E27FC236}">
                <a16:creationId xmlns:a16="http://schemas.microsoft.com/office/drawing/2014/main" id="{E697F99F-369D-4C2C-8998-02F648FC7F4B}"/>
              </a:ext>
            </a:extLst>
          </p:cNvPr>
          <p:cNvCxnSpPr>
            <a:cxnSpLocks/>
          </p:cNvCxnSpPr>
          <p:nvPr/>
        </p:nvCxnSpPr>
        <p:spPr>
          <a:xfrm>
            <a:off x="11801476" y="6304965"/>
            <a:ext cx="390527" cy="0"/>
          </a:xfrm>
          <a:prstGeom prst="line">
            <a:avLst/>
          </a:prstGeom>
          <a:ln w="349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itelplatzhalter 15">
            <a:extLst>
              <a:ext uri="{FF2B5EF4-FFF2-40B4-BE49-F238E27FC236}">
                <a16:creationId xmlns:a16="http://schemas.microsoft.com/office/drawing/2014/main" id="{B2741B2F-6FC7-460B-9796-24E259DCCA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3369" y="356073"/>
            <a:ext cx="8575664" cy="3319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094196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kern="1200" dirty="0">
          <a:solidFill>
            <a:schemeClr val="tx1"/>
          </a:solidFill>
          <a:latin typeface="+mj-lt"/>
          <a:ea typeface="+mj-ea"/>
          <a:cs typeface="Segoe UI Semibold" panose="020B0702040204020203" pitchFamily="34" charset="0"/>
        </a:defRPr>
      </a:lvl1pPr>
    </p:titleStyle>
    <p:bodyStyle>
      <a:lvl1pPr marL="270000" indent="-270000" algn="l" defTabSz="6858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de-DE" sz="1400" kern="1200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540000" indent="-270000" algn="l" defTabSz="6858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lang="de-DE" sz="1200" kern="120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810000" indent="-270000" algn="l" defTabSz="6858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de-DE" sz="1200" kern="1200" dirty="0" smtClean="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270000" algn="l" defTabSz="685800" rtl="0" eaLnBrk="1" latinLnBrk="0" hangingPunct="1">
        <a:lnSpc>
          <a:spcPct val="100000"/>
        </a:lnSpc>
        <a:spcBef>
          <a:spcPts val="400"/>
        </a:spcBef>
        <a:buFont typeface="Symbol" panose="05050102010706020507" pitchFamily="18" charset="2"/>
        <a:buChar char="-"/>
        <a:defRPr lang="de-DE" sz="1200" kern="1200" dirty="0" smtClean="0">
          <a:solidFill>
            <a:schemeClr val="tx2"/>
          </a:solidFill>
          <a:latin typeface="+mn-lt"/>
          <a:ea typeface="+mn-ea"/>
          <a:cs typeface="+mn-cs"/>
        </a:defRPr>
      </a:lvl4pPr>
      <a:lvl5pPr marL="1350000" indent="-270000" algn="l" defTabSz="685800" rtl="0" eaLnBrk="1" latinLnBrk="0" hangingPunct="1">
        <a:lnSpc>
          <a:spcPct val="100000"/>
        </a:lnSpc>
        <a:spcBef>
          <a:spcPts val="400"/>
        </a:spcBef>
        <a:buFont typeface="Arial" panose="020B0604020202020204" pitchFamily="34" charset="0"/>
        <a:buChar char="•"/>
        <a:defRPr lang="en-US" sz="12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447">
          <p15:clr>
            <a:srgbClr val="F26B43"/>
          </p15:clr>
        </p15:guide>
        <p15:guide id="3" pos="5909">
          <p15:clr>
            <a:srgbClr val="F26B43"/>
          </p15:clr>
        </p15:guide>
        <p15:guide id="4" orient="horz" pos="3967">
          <p15:clr>
            <a:srgbClr val="F26B43"/>
          </p15:clr>
        </p15:guide>
        <p15:guide id="5" orient="horz" pos="825">
          <p15:clr>
            <a:srgbClr val="F26B43"/>
          </p15:clr>
        </p15:guide>
        <p15:guide id="6" orient="horz" pos="22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6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7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8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.png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png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0.png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5.png"/><Relationship Id="rId4" Type="http://schemas.openxmlformats.org/officeDocument/2006/relationships/image" Target="../media/image7.sv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5" Type="http://schemas.openxmlformats.org/officeDocument/2006/relationships/hyperlink" Target="mailto:anja.ehrke@marketingtechlab.de" TargetMode="External"/><Relationship Id="rId4" Type="http://schemas.openxmlformats.org/officeDocument/2006/relationships/image" Target="../media/image7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5.png"/><Relationship Id="rId9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arketing-tech-award.de/" TargetMode="External"/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4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7.svg"/><Relationship Id="rId2" Type="http://schemas.openxmlformats.org/officeDocument/2006/relationships/slideLayout" Target="../slideLayouts/slideLayout16.xml"/><Relationship Id="rId1" Type="http://schemas.openxmlformats.org/officeDocument/2006/relationships/themeOverride" Target="../theme/themeOverride5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86F545F4-7F37-3C90-7DC8-5338FBC10B4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-1524" y="0"/>
            <a:ext cx="12195048" cy="6858003"/>
            <a:chOff x="-1524" y="0"/>
            <a:chExt cx="12195048" cy="6858003"/>
          </a:xfrm>
        </p:grpSpPr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34D4CFC9-F4EF-84F4-C2A8-9AF73E27CD57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-1524" y="0"/>
              <a:ext cx="12193524" cy="6858000"/>
            </a:xfrm>
            <a:prstGeom prst="rect">
              <a:avLst/>
            </a:prstGeom>
            <a:gradFill>
              <a:gsLst>
                <a:gs pos="0">
                  <a:srgbClr val="FAB402"/>
                </a:gs>
                <a:gs pos="100000">
                  <a:srgbClr val="DDEFF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16" name="Ecken des Rechtecks auf der gleichen Seite abrunden 15">
              <a:extLst>
                <a:ext uri="{FF2B5EF4-FFF2-40B4-BE49-F238E27FC236}">
                  <a16:creationId xmlns:a16="http://schemas.microsoft.com/office/drawing/2014/main" id="{6278E1BF-40E6-EAAA-07B3-381137BD22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1343026"/>
              <a:ext cx="12193524" cy="5514975"/>
            </a:xfrm>
            <a:prstGeom prst="round2SameRect">
              <a:avLst/>
            </a:prstGeom>
            <a:solidFill>
              <a:srgbClr val="DDEFF3">
                <a:alpha val="46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pic>
          <p:nvPicPr>
            <p:cNvPr id="8" name="Grafik 7" descr="Ein Bild, das Grafiken, Farbigkeit, Grafikdesign, Screenshot enthält.&#10;&#10;Automatisch generierte Beschreibung">
              <a:extLst>
                <a:ext uri="{FF2B5EF4-FFF2-40B4-BE49-F238E27FC236}">
                  <a16:creationId xmlns:a16="http://schemas.microsoft.com/office/drawing/2014/main" id="{C5027F5A-F4D2-03BE-98B1-9509441BDCEE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 rotWithShape="1">
            <a:blip r:embed="rId2"/>
            <a:srcRect t="11314" b="6526"/>
            <a:stretch/>
          </p:blipFill>
          <p:spPr>
            <a:xfrm>
              <a:off x="452652" y="2006135"/>
              <a:ext cx="4512618" cy="4188755"/>
            </a:xfrm>
            <a:prstGeom prst="rect">
              <a:avLst/>
            </a:prstGeom>
          </p:spPr>
        </p:pic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3E858AC3-9651-514E-2148-225F3F26C6C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5278413" y="4818986"/>
              <a:ext cx="1431175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4000" dirty="0">
                  <a:solidFill>
                    <a:srgbClr val="0E4D65"/>
                  </a:solidFill>
                  <a:latin typeface="Kefa" panose="02000506000000020004" pitchFamily="2" charset="77"/>
                </a:rPr>
                <a:t>2024</a:t>
              </a:r>
            </a:p>
          </p:txBody>
        </p:sp>
        <p:grpSp>
          <p:nvGrpSpPr>
            <p:cNvPr id="17" name="Gruppieren 16">
              <a:extLst>
                <a:ext uri="{FF2B5EF4-FFF2-40B4-BE49-F238E27FC236}">
                  <a16:creationId xmlns:a16="http://schemas.microsoft.com/office/drawing/2014/main" id="{51799A04-AD92-269F-048C-C51604C3EC5B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126092" y="5837452"/>
              <a:ext cx="2065908" cy="1020551"/>
              <a:chOff x="13640723" y="13852530"/>
              <a:chExt cx="2782957" cy="1374769"/>
            </a:xfrm>
          </p:grpSpPr>
          <p:sp>
            <p:nvSpPr>
              <p:cNvPr id="18" name="Eine Ecke des Rechtecks abrunden 17">
                <a:extLst>
                  <a:ext uri="{FF2B5EF4-FFF2-40B4-BE49-F238E27FC236}">
                    <a16:creationId xmlns:a16="http://schemas.microsoft.com/office/drawing/2014/main" id="{DF60830D-549F-FC70-FDD4-7047D86920EC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flipH="1">
                <a:off x="13640723" y="13854395"/>
                <a:ext cx="2782957" cy="1372904"/>
              </a:xfrm>
              <a:prstGeom prst="round1Rect">
                <a:avLst/>
              </a:prstGeom>
              <a:solidFill>
                <a:srgbClr val="176D7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811"/>
              </a:p>
            </p:txBody>
          </p:sp>
          <p:pic>
            <p:nvPicPr>
              <p:cNvPr id="19" name="Grafik 18" descr="Ein Bild, das Schrift, Tex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6F83B0D0-24C4-4520-2B0B-BF1501D91C22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981556" y="13852530"/>
                <a:ext cx="2276060" cy="1372904"/>
              </a:xfrm>
              <a:prstGeom prst="rect">
                <a:avLst/>
              </a:prstGeom>
              <a:ln>
                <a:noFill/>
              </a:ln>
            </p:spPr>
          </p:pic>
        </p:grpSp>
      </p:grpSp>
      <p:pic>
        <p:nvPicPr>
          <p:cNvPr id="10" name="Grafik 9">
            <a:extLst>
              <a:ext uri="{FF2B5EF4-FFF2-40B4-BE49-F238E27FC236}">
                <a16:creationId xmlns:a16="http://schemas.microsoft.com/office/drawing/2014/main" id="{885331E6-EFB1-DF81-A587-97327A6FFF8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29363" y="2320209"/>
            <a:ext cx="6326921" cy="3560605"/>
          </a:xfrm>
          <a:prstGeom prst="rect">
            <a:avLst/>
          </a:prstGeom>
        </p:spPr>
      </p:pic>
      <p:pic>
        <p:nvPicPr>
          <p:cNvPr id="3" name="Grafik 2" descr="Ein Bild, das Symbol, Schrift, Kreis, Logo enthält.&#10;&#10;Automatisch generierte Beschreibung">
            <a:extLst>
              <a:ext uri="{FF2B5EF4-FFF2-40B4-BE49-F238E27FC236}">
                <a16:creationId xmlns:a16="http://schemas.microsoft.com/office/drawing/2014/main" id="{E63C4C53-311F-F274-F908-5D9B2A60601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112842" y="229973"/>
            <a:ext cx="824075" cy="824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8636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C1A7271-526A-E5FA-7A83-7398E0D647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FC789346-AAEC-E640-2F57-0768689C68D2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BC867D6-8513-78F9-F28A-10C41311CA7A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AC5D303-962C-8FBA-2268-608BE43DA752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1CAD6969-2072-2640-6F2B-CCDD7CA67F26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07FCFC3A-FB0D-9121-A07A-DF7FE0EF5DF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94D46351-207A-BF42-09B8-BC88653278F3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>
                <a:latin typeface="Kefa" panose="02000506000000020004" pitchFamily="2" charset="77"/>
              </a:rPr>
              <a:t>Ihre Marketing Tech Stack Descriptio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92FC11EA-3EAC-E793-F203-A3262E9E9C9D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C7BDA240-A6E9-8D41-C8C9-4901F0F0B10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FFFF8137-0841-16DF-4A10-C6EB1CFF1B19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612EB010-5389-37D2-39C5-CB7869384B89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plai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3-5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lid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ructur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a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llow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ques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guidan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an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urpo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ac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k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cis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a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ur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mplement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ng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nagem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su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how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vercom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ke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s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uppor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erm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"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fo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after"?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s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pecif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relevant KPIs.</a:t>
            </a:r>
          </a:p>
        </p:txBody>
      </p:sp>
      <p:sp>
        <p:nvSpPr>
          <p:cNvPr id="9" name="Donut 27">
            <a:extLst>
              <a:ext uri="{FF2B5EF4-FFF2-40B4-BE49-F238E27FC236}">
                <a16:creationId xmlns:a16="http://schemas.microsoft.com/office/drawing/2014/main" id="{31814E99-DC16-65F8-0556-4466957FA84D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911336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CB7A9AA-7FE5-26DD-D106-CB6D7B5F865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00FFEF30-401C-13BB-38C2-CE0BFD67E076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5E7216A-C4CB-9DBB-06E7-E0D626A288B4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71D7B461-60C3-0D92-8ABC-5427D762ABC0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D8787021-E26A-6950-5060-BCD5A5897737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8167215D-6899-3F9C-1F4D-34EA27061B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685A83FE-7747-F1BB-1ACC-8CAEEC0BAEE9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 err="1">
                <a:latin typeface="Kefa" panose="02000506000000020004" pitchFamily="2" charset="77"/>
              </a:rPr>
              <a:t>Your</a:t>
            </a:r>
            <a:r>
              <a:rPr lang="de-DE" b="1" dirty="0">
                <a:latin typeface="Kefa" panose="02000506000000020004" pitchFamily="2" charset="77"/>
              </a:rPr>
              <a:t> Marketing Tech Stack Highlight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62E7354D-7032-D89A-559B-48BCD8C945EB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EE805926-2647-21AA-11AC-40AB7E9B2A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C9ADCE2-BDA7-11F1-8D56-1C0F00DD18BA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3FFFDCF3-8A30-DED2-397C-6DD480CDE3C7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articularl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u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stinguish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ampl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..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Cross-Channel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Data &amp; Analytics Stack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ann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&amp; Controlling Budgets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Content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re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&amp; Distribution Stack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Commerce Stack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st Marketing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pera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Solutio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ann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&amp; Control</a:t>
            </a:r>
            <a:endParaRPr lang="de-DE" sz="1000" dirty="0">
              <a:solidFill>
                <a:srgbClr val="0E4D65"/>
              </a:solidFill>
              <a:ea typeface="Roboto Light"/>
            </a:endParaRPr>
          </a:p>
        </p:txBody>
      </p:sp>
      <p:sp>
        <p:nvSpPr>
          <p:cNvPr id="8" name="Donut 27">
            <a:extLst>
              <a:ext uri="{FF2B5EF4-FFF2-40B4-BE49-F238E27FC236}">
                <a16:creationId xmlns:a16="http://schemas.microsoft.com/office/drawing/2014/main" id="{5EC3DEBC-501D-2CD5-EFF1-5FB8D2E42BDF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7476920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5ACD6C4-36E0-6469-9C6F-74BEAEABB87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5EF3603D-6F86-961C-BA6F-198A68A39EE3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1F67E19-C085-30E0-C5DA-558A2FFB8EC7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BFADFAA2-A412-D0D4-2110-21CAE2382434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43B5BAFB-3CE3-D143-FD7B-2FCD73B58576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5DADF3C8-5273-9A80-C090-6071A9E2365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2E48D434-C91B-7115-742D-40E509103F8C}"/>
              </a:ext>
            </a:extLst>
          </p:cNvPr>
          <p:cNvSpPr txBox="1">
            <a:spLocks/>
          </p:cNvSpPr>
          <p:nvPr/>
        </p:nvSpPr>
        <p:spPr>
          <a:xfrm>
            <a:off x="661330" y="310798"/>
            <a:ext cx="7186433" cy="548039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 err="1">
                <a:latin typeface="Kefa" panose="02000506000000020004" pitchFamily="2" charset="77"/>
              </a:rPr>
              <a:t>Individuality</a:t>
            </a:r>
            <a:r>
              <a:rPr lang="de-DE" b="1" dirty="0">
                <a:latin typeface="Kefa" panose="02000506000000020004" pitchFamily="2" charset="77"/>
              </a:rPr>
              <a:t> &amp; Integration at Data and </a:t>
            </a:r>
            <a:r>
              <a:rPr lang="de-DE" b="1" dirty="0" err="1">
                <a:latin typeface="Kefa" panose="02000506000000020004" pitchFamily="2" charset="77"/>
              </a:rPr>
              <a:t>Process</a:t>
            </a:r>
            <a:r>
              <a:rPr lang="de-DE" b="1" dirty="0">
                <a:latin typeface="Kefa" panose="02000506000000020004" pitchFamily="2" charset="77"/>
              </a:rPr>
              <a:t> Levels, Level </a:t>
            </a:r>
            <a:r>
              <a:rPr lang="de-DE" b="1" dirty="0" err="1">
                <a:latin typeface="Kefa" panose="02000506000000020004" pitchFamily="2" charset="77"/>
              </a:rPr>
              <a:t>of</a:t>
            </a:r>
            <a:r>
              <a:rPr lang="de-DE" b="1" dirty="0">
                <a:latin typeface="Kefa" panose="02000506000000020004" pitchFamily="2" charset="77"/>
              </a:rPr>
              <a:t> </a:t>
            </a:r>
            <a:r>
              <a:rPr lang="de-DE" b="1" dirty="0" err="1">
                <a:latin typeface="Kefa" panose="02000506000000020004" pitchFamily="2" charset="77"/>
              </a:rPr>
              <a:t>Personalization</a:t>
            </a:r>
            <a:r>
              <a:rPr lang="de-DE" b="1" dirty="0">
                <a:latin typeface="Kefa" panose="02000506000000020004" pitchFamily="2" charset="77"/>
              </a:rPr>
              <a:t> and Segmentation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4CE72B77-F50C-9495-9E6B-7FE6D64FA1CE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F7432E9-A174-135E-143E-022802159D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0ACD9C59-6748-9BFE-FCF4-158236E7482F}"/>
              </a:ext>
            </a:extLst>
          </p:cNvPr>
          <p:cNvSpPr txBox="1"/>
          <p:nvPr/>
        </p:nvSpPr>
        <p:spPr>
          <a:xfrm>
            <a:off x="3474175" y="1422627"/>
            <a:ext cx="8388220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173F9857-776F-3A14-D0F0-BB380F590E0E}"/>
              </a:ext>
            </a:extLst>
          </p:cNvPr>
          <p:cNvSpPr/>
          <p:nvPr/>
        </p:nvSpPr>
        <p:spPr>
          <a:xfrm>
            <a:off x="-1" y="1309688"/>
            <a:ext cx="3245077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eth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new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echnologi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"best-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-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re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"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pecialt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u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-house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velopmen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ampl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llabor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artup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s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t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ustom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lread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tegrat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360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gre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ro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l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urc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entrall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a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echnological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u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niqu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dentifi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ynchroniz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l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urc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(offline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online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ransac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ovem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CRM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etc.)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entrall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vid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rket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nnel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t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cess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gram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ver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cros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variou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yst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how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utom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ccur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rket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cess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&amp;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eer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 Are ROI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vailabl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real-time?</a:t>
            </a: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t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uchpoin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ustomizabl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(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edia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ploym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nt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)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t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ustom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eedback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terac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corporate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Next Best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f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ersonaliz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nt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</a:t>
            </a:r>
            <a:endParaRPr lang="de-DE" sz="1100" dirty="0">
              <a:solidFill>
                <a:srgbClr val="0E4D65"/>
              </a:solidFill>
              <a:ea typeface="Roboto Light"/>
            </a:endParaRPr>
          </a:p>
        </p:txBody>
      </p:sp>
      <p:sp>
        <p:nvSpPr>
          <p:cNvPr id="2" name="Donut 27">
            <a:extLst>
              <a:ext uri="{FF2B5EF4-FFF2-40B4-BE49-F238E27FC236}">
                <a16:creationId xmlns:a16="http://schemas.microsoft.com/office/drawing/2014/main" id="{A526BEAC-0F11-DD3E-A6C5-52CDB1B3C1C9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674673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B0A2B7B4-A427-E0BB-F79B-27AD094B48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4F951950-A84B-07BF-5AE6-C8689023FF7A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2F3335A-7426-5FBB-42B8-C16EC16753E8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2C2410F0-3CEA-FCAB-541A-5E0C1134989A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CF7F01B9-53B3-07FD-1CD1-8AC97B5F6C0D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D8BF9DBC-5852-E5C6-0039-BD408262CCA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3C2FD848-0495-BD58-6479-CBF9501A0E25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 err="1">
                <a:latin typeface="Kefa" panose="02000506000000020004" pitchFamily="2" charset="77"/>
              </a:rPr>
              <a:t>Your</a:t>
            </a:r>
            <a:r>
              <a:rPr lang="de-DE" b="1" dirty="0">
                <a:latin typeface="Kefa" panose="02000506000000020004" pitchFamily="2" charset="77"/>
              </a:rPr>
              <a:t> </a:t>
            </a:r>
            <a:r>
              <a:rPr lang="de-DE" b="1" dirty="0" err="1">
                <a:latin typeface="Kefa" panose="02000506000000020004" pitchFamily="2" charset="77"/>
              </a:rPr>
              <a:t>planned</a:t>
            </a:r>
            <a:r>
              <a:rPr lang="de-DE" b="1" dirty="0">
                <a:latin typeface="Kefa" panose="02000506000000020004" pitchFamily="2" charset="77"/>
              </a:rPr>
              <a:t> </a:t>
            </a:r>
            <a:r>
              <a:rPr lang="de-DE" b="1" dirty="0" err="1">
                <a:latin typeface="Kefa" panose="02000506000000020004" pitchFamily="2" charset="77"/>
              </a:rPr>
              <a:t>developments</a:t>
            </a:r>
            <a:r>
              <a:rPr lang="de-DE" b="1" dirty="0">
                <a:latin typeface="Kefa" panose="02000506000000020004" pitchFamily="2" charset="77"/>
              </a:rPr>
              <a:t> </a:t>
            </a:r>
            <a:r>
              <a:rPr lang="de-DE" b="1" dirty="0" err="1">
                <a:latin typeface="Kefa" panose="02000506000000020004" pitchFamily="2" charset="77"/>
              </a:rPr>
              <a:t>for</a:t>
            </a:r>
            <a:r>
              <a:rPr lang="de-DE" b="1" dirty="0">
                <a:latin typeface="Kefa" panose="02000506000000020004" pitchFamily="2" charset="77"/>
              </a:rPr>
              <a:t> 2025/2026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53B14DC2-A315-0C68-D56A-F036482215BD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E530B1DD-2523-0099-F11F-0C958A9220F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74138D7B-1200-62DC-7896-C030CAC70A9C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C8EDE17B-83C7-66AC-2EC7-B00CBFD1C35A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pla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n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ack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2025/2026?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goal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80975" lvl="1" indent="-180975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lread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ifferent countries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ntinen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pla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o so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utu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rde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reat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calabl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?</a:t>
            </a:r>
            <a:endParaRPr lang="de-DE" sz="1100" dirty="0">
              <a:solidFill>
                <a:srgbClr val="0E4D65"/>
              </a:solidFill>
              <a:ea typeface="Roboto Light"/>
            </a:endParaRPr>
          </a:p>
        </p:txBody>
      </p:sp>
      <p:sp>
        <p:nvSpPr>
          <p:cNvPr id="6" name="Donut 27">
            <a:extLst>
              <a:ext uri="{FF2B5EF4-FFF2-40B4-BE49-F238E27FC236}">
                <a16:creationId xmlns:a16="http://schemas.microsoft.com/office/drawing/2014/main" id="{AB6895C6-9573-C3F5-C5B3-D9204BBF2FC9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991415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E65EF4-B358-28B7-5B17-ED7C18E3241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514AF04A-EA53-41A6-C49C-86C744668F5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2352ED96-3A68-52B3-B194-0E30D9F1E4A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8609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E771B5AF-0C20-6403-93FA-0BBA316CA6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657BD5EA-16B3-5692-5923-5B0D0C677D77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2" name="Ecken des Rechtecks auf der gleichen Seite abrunden 1">
            <a:extLst>
              <a:ext uri="{FF2B5EF4-FFF2-40B4-BE49-F238E27FC236}">
                <a16:creationId xmlns:a16="http://schemas.microsoft.com/office/drawing/2014/main" id="{C7BDD286-0CB9-F64D-21EA-E81784CDE78F}"/>
              </a:ext>
            </a:extLst>
          </p:cNvPr>
          <p:cNvSpPr/>
          <p:nvPr/>
        </p:nvSpPr>
        <p:spPr>
          <a:xfrm>
            <a:off x="7959354" y="1522358"/>
            <a:ext cx="3991344" cy="5335641"/>
          </a:xfrm>
          <a:prstGeom prst="round2Same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Ecken des Rechtecks auf der gleichen Seite abrunden 22">
            <a:extLst>
              <a:ext uri="{FF2B5EF4-FFF2-40B4-BE49-F238E27FC236}">
                <a16:creationId xmlns:a16="http://schemas.microsoft.com/office/drawing/2014/main" id="{48B2B3F2-72E5-D816-7505-737CDFB99816}"/>
              </a:ext>
            </a:extLst>
          </p:cNvPr>
          <p:cNvSpPr/>
          <p:nvPr/>
        </p:nvSpPr>
        <p:spPr>
          <a:xfrm>
            <a:off x="5232025" y="2273300"/>
            <a:ext cx="3311153" cy="4590413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rgbClr val="DDEFF3"/>
              </a:solidFill>
            </a:endParaRPr>
          </a:p>
        </p:txBody>
      </p:sp>
      <p:sp>
        <p:nvSpPr>
          <p:cNvPr id="22" name="Ecken des Rechtecks auf der gleichen Seite abrunden 21">
            <a:extLst>
              <a:ext uri="{FF2B5EF4-FFF2-40B4-BE49-F238E27FC236}">
                <a16:creationId xmlns:a16="http://schemas.microsoft.com/office/drawing/2014/main" id="{3CE35902-47B8-6734-3122-E7E82F2A377A}"/>
              </a:ext>
            </a:extLst>
          </p:cNvPr>
          <p:cNvSpPr/>
          <p:nvPr/>
        </p:nvSpPr>
        <p:spPr>
          <a:xfrm>
            <a:off x="2552324" y="3097529"/>
            <a:ext cx="3096007" cy="3760472"/>
          </a:xfrm>
          <a:prstGeom prst="round2Same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Ecken des Rechtecks auf der gleichen Seite abrunden 13">
            <a:extLst>
              <a:ext uri="{FF2B5EF4-FFF2-40B4-BE49-F238E27FC236}">
                <a16:creationId xmlns:a16="http://schemas.microsoft.com/office/drawing/2014/main" id="{DC8F8638-888B-F633-35BA-9B9B40AF8CC9}"/>
              </a:ext>
            </a:extLst>
          </p:cNvPr>
          <p:cNvSpPr/>
          <p:nvPr/>
        </p:nvSpPr>
        <p:spPr>
          <a:xfrm>
            <a:off x="241301" y="3855953"/>
            <a:ext cx="2826270" cy="3007761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ED2C294C-CACC-D21A-807A-452D7698DAB8}"/>
              </a:ext>
            </a:extLst>
          </p:cNvPr>
          <p:cNvSpPr txBox="1"/>
          <p:nvPr/>
        </p:nvSpPr>
        <p:spPr>
          <a:xfrm>
            <a:off x="1065033" y="3429000"/>
            <a:ext cx="1178805" cy="406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Function</a:t>
            </a:r>
            <a:endParaRPr lang="de-DE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E8C4B57-2A9F-F369-5A87-4AE1D5D132B6}"/>
              </a:ext>
            </a:extLst>
          </p:cNvPr>
          <p:cNvSpPr txBox="1"/>
          <p:nvPr/>
        </p:nvSpPr>
        <p:spPr>
          <a:xfrm>
            <a:off x="3067571" y="2684845"/>
            <a:ext cx="1759156" cy="406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Value </a:t>
            </a:r>
            <a:r>
              <a:rPr lang="de-DE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reation</a:t>
            </a:r>
            <a:endParaRPr lang="de-DE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471629-1AAF-BAE4-C343-FE7A3D4416F0}"/>
              </a:ext>
            </a:extLst>
          </p:cNvPr>
          <p:cNvSpPr txBox="1"/>
          <p:nvPr/>
        </p:nvSpPr>
        <p:spPr>
          <a:xfrm>
            <a:off x="5800396" y="1843888"/>
            <a:ext cx="2006894" cy="406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ustomer Journey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02A4A91-9113-4FF5-67B8-CB3D3CA1DD01}"/>
              </a:ext>
            </a:extLst>
          </p:cNvPr>
          <p:cNvSpPr txBox="1"/>
          <p:nvPr/>
        </p:nvSpPr>
        <p:spPr>
          <a:xfrm>
            <a:off x="8961085" y="1116776"/>
            <a:ext cx="2152392" cy="406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Internal / External</a:t>
            </a:r>
          </a:p>
        </p:txBody>
      </p:sp>
    </p:spTree>
    <p:extLst>
      <p:ext uri="{BB962C8B-B14F-4D97-AF65-F5344CB8AC3E}">
        <p14:creationId xmlns:p14="http://schemas.microsoft.com/office/powerpoint/2010/main" val="16300174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0381A58-03D0-B184-11C8-44B76C2C88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2F901B5C-B354-B3F4-BB7C-02B9D8F7142E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629EE5B0-A959-732D-BE62-F0CB7812BF5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8051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F166A300-C716-2E27-2809-5BB09E1CC4F4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25A0125D-E166-D08A-F1E2-B015C990BFF8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D5BB491E-3ED3-722D-358E-F359ABFC5D9F}"/>
              </a:ext>
            </a:extLst>
          </p:cNvPr>
          <p:cNvSpPr/>
          <p:nvPr/>
        </p:nvSpPr>
        <p:spPr>
          <a:xfrm>
            <a:off x="0" y="1363573"/>
            <a:ext cx="4660900" cy="2163986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E64BCCE-8B24-61EE-82D8-EAABE25245E6}"/>
              </a:ext>
            </a:extLst>
          </p:cNvPr>
          <p:cNvSpPr/>
          <p:nvPr/>
        </p:nvSpPr>
        <p:spPr>
          <a:xfrm>
            <a:off x="7531102" y="1363572"/>
            <a:ext cx="4660900" cy="2163986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B3CE123-CF90-96D3-0B73-CCCFB156891C}"/>
              </a:ext>
            </a:extLst>
          </p:cNvPr>
          <p:cNvSpPr/>
          <p:nvPr/>
        </p:nvSpPr>
        <p:spPr>
          <a:xfrm>
            <a:off x="4660899" y="1363572"/>
            <a:ext cx="2886447" cy="2163986"/>
          </a:xfrm>
          <a:prstGeom prst="rect">
            <a:avLst/>
          </a:prstGeom>
          <a:solidFill>
            <a:srgbClr val="DDEF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C861372-9F64-4E28-B26F-40FF3FCD7CB5}"/>
              </a:ext>
            </a:extLst>
          </p:cNvPr>
          <p:cNvSpPr/>
          <p:nvPr/>
        </p:nvSpPr>
        <p:spPr>
          <a:xfrm>
            <a:off x="0" y="3879970"/>
            <a:ext cx="12192000" cy="691463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CBD2503-4552-939D-8D0F-4686C987317E}"/>
              </a:ext>
            </a:extLst>
          </p:cNvPr>
          <p:cNvSpPr/>
          <p:nvPr/>
        </p:nvSpPr>
        <p:spPr>
          <a:xfrm>
            <a:off x="0" y="5065418"/>
            <a:ext cx="5977121" cy="691463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CD370B36-092D-A8FB-29D5-AAB74FDD65A2}"/>
              </a:ext>
            </a:extLst>
          </p:cNvPr>
          <p:cNvSpPr/>
          <p:nvPr/>
        </p:nvSpPr>
        <p:spPr>
          <a:xfrm>
            <a:off x="0" y="6166537"/>
            <a:ext cx="12192000" cy="691463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44B0FCD2-CDC8-51CE-321D-F106ABEF8987}"/>
              </a:ext>
            </a:extLst>
          </p:cNvPr>
          <p:cNvSpPr txBox="1"/>
          <p:nvPr/>
        </p:nvSpPr>
        <p:spPr>
          <a:xfrm>
            <a:off x="-5615" y="1058030"/>
            <a:ext cx="208737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Ressource Management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0547207-01B4-9E3A-31F4-7991044FF4BB}"/>
              </a:ext>
            </a:extLst>
          </p:cNvPr>
          <p:cNvSpPr txBox="1"/>
          <p:nvPr/>
        </p:nvSpPr>
        <p:spPr>
          <a:xfrm>
            <a:off x="4660899" y="1058030"/>
            <a:ext cx="1990909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Target / Orchestration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BB67CB19-3921-2997-A47C-C2A04E6AB2DE}"/>
              </a:ext>
            </a:extLst>
          </p:cNvPr>
          <p:cNvSpPr txBox="1"/>
          <p:nvPr/>
        </p:nvSpPr>
        <p:spPr>
          <a:xfrm>
            <a:off x="7547346" y="1058030"/>
            <a:ext cx="3219263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Multichannel</a:t>
            </a: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Campaign Management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04D0E280-BB88-EAAB-AEC7-728F73A11917}"/>
              </a:ext>
            </a:extLst>
          </p:cNvPr>
          <p:cNvSpPr txBox="1"/>
          <p:nvPr/>
        </p:nvSpPr>
        <p:spPr>
          <a:xfrm>
            <a:off x="0" y="3566799"/>
            <a:ext cx="4276725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ustomer Relationship Management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B44C32C-6BDA-003F-4F77-EA6E0FE96A62}"/>
              </a:ext>
            </a:extLst>
          </p:cNvPr>
          <p:cNvSpPr txBox="1"/>
          <p:nvPr/>
        </p:nvSpPr>
        <p:spPr>
          <a:xfrm>
            <a:off x="-8122" y="4758844"/>
            <a:ext cx="1796496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nalytics &amp; </a:t>
            </a: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Ecometrics</a:t>
            </a:r>
            <a:endParaRPr lang="de-DE" sz="1200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4A485DCF-6270-163F-AA6E-BEE8FA41DCAA}"/>
              </a:ext>
            </a:extLst>
          </p:cNvPr>
          <p:cNvSpPr/>
          <p:nvPr/>
        </p:nvSpPr>
        <p:spPr>
          <a:xfrm>
            <a:off x="6228869" y="5060914"/>
            <a:ext cx="5977120" cy="691463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63F7E332-61CC-55EB-B96C-E2C9642A4335}"/>
              </a:ext>
            </a:extLst>
          </p:cNvPr>
          <p:cNvSpPr txBox="1"/>
          <p:nvPr/>
        </p:nvSpPr>
        <p:spPr>
          <a:xfrm>
            <a:off x="6223002" y="4758844"/>
            <a:ext cx="1308100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endParaRPr lang="de-DE" sz="1200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4EC1A9B9-B182-23B8-D063-46290EA688AD}"/>
              </a:ext>
            </a:extLst>
          </p:cNvPr>
          <p:cNvSpPr txBox="1"/>
          <p:nvPr/>
        </p:nvSpPr>
        <p:spPr>
          <a:xfrm>
            <a:off x="-8122" y="5868511"/>
            <a:ext cx="4399996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Data Management</a:t>
            </a:r>
          </a:p>
        </p:txBody>
      </p:sp>
    </p:spTree>
    <p:extLst>
      <p:ext uri="{BB962C8B-B14F-4D97-AF65-F5344CB8AC3E}">
        <p14:creationId xmlns:p14="http://schemas.microsoft.com/office/powerpoint/2010/main" val="35356452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DF187454-E5EC-CE19-70AF-7F3707E1AA9E}"/>
              </a:ext>
            </a:extLst>
          </p:cNvPr>
          <p:cNvSpPr/>
          <p:nvPr/>
        </p:nvSpPr>
        <p:spPr>
          <a:xfrm>
            <a:off x="0" y="0"/>
            <a:ext cx="12192000" cy="998609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2" name="Titel 4">
            <a:extLst>
              <a:ext uri="{FF2B5EF4-FFF2-40B4-BE49-F238E27FC236}">
                <a16:creationId xmlns:a16="http://schemas.microsoft.com/office/drawing/2014/main" id="{4F6372E6-542D-6949-40D7-FC2CF8DF6711}"/>
              </a:ext>
            </a:extLst>
          </p:cNvPr>
          <p:cNvSpPr txBox="1">
            <a:spLocks/>
          </p:cNvSpPr>
          <p:nvPr/>
        </p:nvSpPr>
        <p:spPr>
          <a:xfrm>
            <a:off x="397010" y="1252064"/>
            <a:ext cx="8593494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Exampl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omponents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of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marketing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tech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landscap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by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functions</a:t>
            </a:r>
            <a:endParaRPr lang="de-DE" sz="1800" dirty="0">
              <a:solidFill>
                <a:srgbClr val="0E4D65"/>
              </a:solidFill>
              <a:latin typeface="Kefa" panose="02000506000000020004" pitchFamily="2" charset="77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57FD265-3119-40FB-99CF-B8FFBD94593C}"/>
              </a:ext>
            </a:extLst>
          </p:cNvPr>
          <p:cNvSpPr txBox="1"/>
          <p:nvPr/>
        </p:nvSpPr>
        <p:spPr>
          <a:xfrm>
            <a:off x="397010" y="5866636"/>
            <a:ext cx="436160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Marketing Tech Monitor 2022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BCD0246-8DB0-125B-9E35-EDD4ECC29CF7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7548" y="1389"/>
            <a:ext cx="1774451" cy="998609"/>
          </a:xfrm>
          <a:prstGeom prst="rect">
            <a:avLst/>
          </a:prstGeom>
        </p:spPr>
      </p:pic>
      <p:pic>
        <p:nvPicPr>
          <p:cNvPr id="12" name="Grafik 1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845D9AD2-EF3A-9E12-2E4D-741F1CF98AF9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0" y="1"/>
            <a:ext cx="1657840" cy="999999"/>
          </a:xfrm>
          <a:prstGeom prst="rect">
            <a:avLst/>
          </a:prstGeom>
          <a:ln>
            <a:noFill/>
          </a:ln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7980B616-A442-C4B1-1E95-A041E6C2C39D}"/>
              </a:ext>
            </a:extLst>
          </p:cNvPr>
          <p:cNvSpPr/>
          <p:nvPr/>
        </p:nvSpPr>
        <p:spPr>
          <a:xfrm>
            <a:off x="0" y="6252899"/>
            <a:ext cx="12192000" cy="605101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B9459DD-9413-9BE4-D220-D75E4D1B34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7010" y="1578860"/>
            <a:ext cx="6852876" cy="4293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358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909E6B8-EE50-E9F4-D4DE-FEAC05F341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209C2AF4-74CD-FD25-A1FE-FA669A274A9C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CCC1E684-33A0-9122-DBF4-2D395491DEE0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9998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3DDF35ED-4219-5EB5-A718-F5A55EBFAA4D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DDBD7EE2-F253-F591-AF96-AF8D301D4FFB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9" name="Rechteck 8">
            <a:extLst>
              <a:ext uri="{FF2B5EF4-FFF2-40B4-BE49-F238E27FC236}">
                <a16:creationId xmlns:a16="http://schemas.microsoft.com/office/drawing/2014/main" id="{507DF1B3-94E8-496A-8DA7-71A4F7E73727}"/>
              </a:ext>
            </a:extLst>
          </p:cNvPr>
          <p:cNvSpPr/>
          <p:nvPr/>
        </p:nvSpPr>
        <p:spPr>
          <a:xfrm>
            <a:off x="0" y="1519308"/>
            <a:ext cx="2050798" cy="5338692"/>
          </a:xfrm>
          <a:prstGeom prst="rect">
            <a:avLst/>
          </a:prstGeom>
          <a:solidFill>
            <a:srgbClr val="DDEFF2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99AF1C4-0314-34E3-17AA-6641FFC0C325}"/>
              </a:ext>
            </a:extLst>
          </p:cNvPr>
          <p:cNvSpPr/>
          <p:nvPr/>
        </p:nvSpPr>
        <p:spPr>
          <a:xfrm>
            <a:off x="2050798" y="1519308"/>
            <a:ext cx="1974079" cy="5338692"/>
          </a:xfrm>
          <a:prstGeom prst="rect">
            <a:avLst/>
          </a:prstGeom>
          <a:solidFill>
            <a:srgbClr val="A2D8DA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2D581A0-2893-C388-8A65-8C162035D39F}"/>
              </a:ext>
            </a:extLst>
          </p:cNvPr>
          <p:cNvSpPr/>
          <p:nvPr/>
        </p:nvSpPr>
        <p:spPr>
          <a:xfrm>
            <a:off x="4034430" y="998607"/>
            <a:ext cx="2054617" cy="520698"/>
          </a:xfrm>
          <a:prstGeom prst="rect">
            <a:avLst/>
          </a:prstGeom>
          <a:solidFill>
            <a:srgbClr val="DDEFF2">
              <a:alpha val="6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E797D6EB-AF68-8AC2-1629-1B21CCFE29A0}"/>
              </a:ext>
            </a:extLst>
          </p:cNvPr>
          <p:cNvSpPr/>
          <p:nvPr/>
        </p:nvSpPr>
        <p:spPr>
          <a:xfrm>
            <a:off x="4024878" y="1519308"/>
            <a:ext cx="2010906" cy="5338692"/>
          </a:xfrm>
          <a:prstGeom prst="rect">
            <a:avLst/>
          </a:prstGeom>
          <a:solidFill>
            <a:srgbClr val="DDEFF2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FE83DFC-95B4-FB62-0E2C-8435DD97581F}"/>
              </a:ext>
            </a:extLst>
          </p:cNvPr>
          <p:cNvSpPr/>
          <p:nvPr/>
        </p:nvSpPr>
        <p:spPr>
          <a:xfrm>
            <a:off x="-5730" y="998607"/>
            <a:ext cx="2054617" cy="520698"/>
          </a:xfrm>
          <a:prstGeom prst="rect">
            <a:avLst/>
          </a:prstGeom>
          <a:solidFill>
            <a:srgbClr val="DDEFF2">
              <a:alpha val="6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64DF99C-D42E-10E1-A357-C508071FA163}"/>
              </a:ext>
            </a:extLst>
          </p:cNvPr>
          <p:cNvSpPr/>
          <p:nvPr/>
        </p:nvSpPr>
        <p:spPr>
          <a:xfrm>
            <a:off x="6037694" y="1519308"/>
            <a:ext cx="2050798" cy="5338692"/>
          </a:xfrm>
          <a:prstGeom prst="rect">
            <a:avLst/>
          </a:prstGeom>
          <a:solidFill>
            <a:srgbClr val="A2D8DA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4FC5DBD-D0B6-930B-DF65-E622284DFF86}"/>
              </a:ext>
            </a:extLst>
          </p:cNvPr>
          <p:cNvSpPr/>
          <p:nvPr/>
        </p:nvSpPr>
        <p:spPr>
          <a:xfrm>
            <a:off x="8090403" y="1519308"/>
            <a:ext cx="2050798" cy="5338692"/>
          </a:xfrm>
          <a:prstGeom prst="rect">
            <a:avLst/>
          </a:prstGeom>
          <a:solidFill>
            <a:srgbClr val="DDEFF2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3F67EE7B-99C9-4BA3-70D3-FC811A1A25B9}"/>
              </a:ext>
            </a:extLst>
          </p:cNvPr>
          <p:cNvSpPr/>
          <p:nvPr/>
        </p:nvSpPr>
        <p:spPr>
          <a:xfrm>
            <a:off x="10141202" y="1519308"/>
            <a:ext cx="2050798" cy="5338692"/>
          </a:xfrm>
          <a:prstGeom prst="rect">
            <a:avLst/>
          </a:prstGeom>
          <a:solidFill>
            <a:srgbClr val="A2D8DA">
              <a:alpha val="7574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0CB17F3-F5A1-5560-71F0-96C4C48F9007}"/>
              </a:ext>
            </a:extLst>
          </p:cNvPr>
          <p:cNvSpPr/>
          <p:nvPr/>
        </p:nvSpPr>
        <p:spPr>
          <a:xfrm>
            <a:off x="10145020" y="998608"/>
            <a:ext cx="2046980" cy="520698"/>
          </a:xfrm>
          <a:prstGeom prst="rect">
            <a:avLst/>
          </a:prstGeom>
          <a:solidFill>
            <a:srgbClr val="DDEFF2">
              <a:alpha val="5135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932798BD-481C-C327-0C0C-229CC3131182}"/>
              </a:ext>
            </a:extLst>
          </p:cNvPr>
          <p:cNvSpPr/>
          <p:nvPr/>
        </p:nvSpPr>
        <p:spPr>
          <a:xfrm>
            <a:off x="6031959" y="998608"/>
            <a:ext cx="2058441" cy="520698"/>
          </a:xfrm>
          <a:prstGeom prst="rect">
            <a:avLst/>
          </a:prstGeom>
          <a:solidFill>
            <a:srgbClr val="DDEFF2">
              <a:alpha val="5135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84B4DAB3-2CE1-A990-927C-8422E47690FE}"/>
              </a:ext>
            </a:extLst>
          </p:cNvPr>
          <p:cNvSpPr/>
          <p:nvPr/>
        </p:nvSpPr>
        <p:spPr>
          <a:xfrm>
            <a:off x="8073204" y="998607"/>
            <a:ext cx="2054617" cy="520698"/>
          </a:xfrm>
          <a:prstGeom prst="rect">
            <a:avLst/>
          </a:prstGeom>
          <a:solidFill>
            <a:srgbClr val="DDEFF2">
              <a:alpha val="6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57098D6E-1AFB-D8E1-09F2-E5455D4737BA}"/>
              </a:ext>
            </a:extLst>
          </p:cNvPr>
          <p:cNvSpPr/>
          <p:nvPr/>
        </p:nvSpPr>
        <p:spPr>
          <a:xfrm>
            <a:off x="2050799" y="998608"/>
            <a:ext cx="1977901" cy="520698"/>
          </a:xfrm>
          <a:prstGeom prst="rect">
            <a:avLst/>
          </a:prstGeom>
          <a:solidFill>
            <a:srgbClr val="DDEFF2">
              <a:alpha val="51355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FA2C3A98-FB1B-019A-9FA7-67B78E5F8A1E}"/>
              </a:ext>
            </a:extLst>
          </p:cNvPr>
          <p:cNvSpPr txBox="1"/>
          <p:nvPr/>
        </p:nvSpPr>
        <p:spPr>
          <a:xfrm>
            <a:off x="0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Plannin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DE7D4919-6F5C-6AFE-DA66-CE2D2279E08A}"/>
              </a:ext>
            </a:extLst>
          </p:cNvPr>
          <p:cNvSpPr txBox="1"/>
          <p:nvPr/>
        </p:nvSpPr>
        <p:spPr>
          <a:xfrm>
            <a:off x="2050798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Execution</a:t>
            </a: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348B8E56-33AC-8AE2-2101-44B2D7940437}"/>
              </a:ext>
            </a:extLst>
          </p:cNvPr>
          <p:cNvSpPr txBox="1"/>
          <p:nvPr/>
        </p:nvSpPr>
        <p:spPr>
          <a:xfrm>
            <a:off x="4024877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Distribution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445538C1-2207-9A73-43C9-0FDF1062F223}"/>
              </a:ext>
            </a:extLst>
          </p:cNvPr>
          <p:cNvSpPr txBox="1"/>
          <p:nvPr/>
        </p:nvSpPr>
        <p:spPr>
          <a:xfrm>
            <a:off x="6035783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Measure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2838D0A-9925-ACC8-4A80-204C0F0BA3A4}"/>
              </a:ext>
            </a:extLst>
          </p:cNvPr>
          <p:cNvSpPr txBox="1"/>
          <p:nvPr/>
        </p:nvSpPr>
        <p:spPr>
          <a:xfrm>
            <a:off x="8086581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Reporting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22AC4E86-F6E6-82ED-5AAC-79820ED7ACF4}"/>
              </a:ext>
            </a:extLst>
          </p:cNvPr>
          <p:cNvSpPr txBox="1"/>
          <p:nvPr/>
        </p:nvSpPr>
        <p:spPr>
          <a:xfrm>
            <a:off x="10141202" y="1110454"/>
            <a:ext cx="205079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Optimization</a:t>
            </a:r>
          </a:p>
        </p:txBody>
      </p:sp>
    </p:spTree>
    <p:extLst>
      <p:ext uri="{BB962C8B-B14F-4D97-AF65-F5344CB8AC3E}">
        <p14:creationId xmlns:p14="http://schemas.microsoft.com/office/powerpoint/2010/main" val="423811881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A6CE922-33D5-B6C9-B8DF-66C1E02A5D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FC039812-B946-DF7F-40FC-0EC25ABBE614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98F18BA9-32D6-1210-30A7-07FFF82C32F4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8609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FD66CE1E-B127-6BED-094D-B06BB09F14A3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E09E1069-F705-F38F-7B6F-A7B319CEF51C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13" name="Rechteck 12">
            <a:extLst>
              <a:ext uri="{FF2B5EF4-FFF2-40B4-BE49-F238E27FC236}">
                <a16:creationId xmlns:a16="http://schemas.microsoft.com/office/drawing/2014/main" id="{A4C09995-7122-ED4E-861D-0265E0B05DBA}"/>
              </a:ext>
            </a:extLst>
          </p:cNvPr>
          <p:cNvSpPr/>
          <p:nvPr/>
        </p:nvSpPr>
        <p:spPr>
          <a:xfrm>
            <a:off x="1092201" y="2992315"/>
            <a:ext cx="11099799" cy="804760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FAB9E08B-EA93-2F44-EF64-2AB203063FD6}"/>
              </a:ext>
            </a:extLst>
          </p:cNvPr>
          <p:cNvSpPr/>
          <p:nvPr/>
        </p:nvSpPr>
        <p:spPr>
          <a:xfrm>
            <a:off x="1102955" y="3944421"/>
            <a:ext cx="11092405" cy="804760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5AF9DCF1-102B-5A5C-9CE3-628FA48EEB10}"/>
              </a:ext>
            </a:extLst>
          </p:cNvPr>
          <p:cNvSpPr/>
          <p:nvPr/>
        </p:nvSpPr>
        <p:spPr>
          <a:xfrm rot="16200000">
            <a:off x="-2334344" y="3425808"/>
            <a:ext cx="5630532" cy="955125"/>
          </a:xfrm>
          <a:prstGeom prst="rect">
            <a:avLst/>
          </a:prstGeom>
          <a:solidFill>
            <a:srgbClr val="DDEFF2">
              <a:alpha val="38281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F6ADE85-B04F-5155-D226-1E39185D7C4D}"/>
              </a:ext>
            </a:extLst>
          </p:cNvPr>
          <p:cNvSpPr/>
          <p:nvPr/>
        </p:nvSpPr>
        <p:spPr>
          <a:xfrm>
            <a:off x="1092201" y="4929147"/>
            <a:ext cx="11099799" cy="804760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2193CEC2-3379-A211-1F84-364D89D0342E}"/>
              </a:ext>
            </a:extLst>
          </p:cNvPr>
          <p:cNvSpPr txBox="1"/>
          <p:nvPr/>
        </p:nvSpPr>
        <p:spPr>
          <a:xfrm>
            <a:off x="3359" y="3947107"/>
            <a:ext cx="1096237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cquir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6C24902-CC09-F782-72B5-264D071298E6}"/>
              </a:ext>
            </a:extLst>
          </p:cNvPr>
          <p:cNvSpPr/>
          <p:nvPr/>
        </p:nvSpPr>
        <p:spPr>
          <a:xfrm>
            <a:off x="1092201" y="1088104"/>
            <a:ext cx="11099799" cy="804760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900AFD38-31BD-FDAB-B576-32F8E48B8837}"/>
              </a:ext>
            </a:extLst>
          </p:cNvPr>
          <p:cNvSpPr/>
          <p:nvPr/>
        </p:nvSpPr>
        <p:spPr>
          <a:xfrm>
            <a:off x="1095561" y="2040209"/>
            <a:ext cx="11099799" cy="804760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DFBC1C9-3A0E-9994-9BB8-759AED043912}"/>
              </a:ext>
            </a:extLst>
          </p:cNvPr>
          <p:cNvSpPr txBox="1"/>
          <p:nvPr/>
        </p:nvSpPr>
        <p:spPr>
          <a:xfrm>
            <a:off x="3360" y="1094024"/>
            <a:ext cx="1099596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llaborat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3620E585-C3A8-139C-BC2D-B718F0084837}"/>
              </a:ext>
            </a:extLst>
          </p:cNvPr>
          <p:cNvSpPr txBox="1"/>
          <p:nvPr/>
        </p:nvSpPr>
        <p:spPr>
          <a:xfrm>
            <a:off x="3360" y="2049723"/>
            <a:ext cx="1099596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reat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AE16A87E-5A63-2756-FD98-0CA3F535CB68}"/>
              </a:ext>
            </a:extLst>
          </p:cNvPr>
          <p:cNvSpPr txBox="1"/>
          <p:nvPr/>
        </p:nvSpPr>
        <p:spPr>
          <a:xfrm>
            <a:off x="0" y="2992418"/>
            <a:ext cx="1099596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Engage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78642D75-607E-FC4B-9945-41A2034C0150}"/>
              </a:ext>
            </a:extLst>
          </p:cNvPr>
          <p:cNvSpPr txBox="1"/>
          <p:nvPr/>
        </p:nvSpPr>
        <p:spPr>
          <a:xfrm>
            <a:off x="0" y="4929147"/>
            <a:ext cx="1092201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nalyze</a:t>
            </a: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747D6D43-68A7-93C3-F133-D13220F16616}"/>
              </a:ext>
            </a:extLst>
          </p:cNvPr>
          <p:cNvSpPr/>
          <p:nvPr/>
        </p:nvSpPr>
        <p:spPr>
          <a:xfrm>
            <a:off x="1102955" y="5913873"/>
            <a:ext cx="11092405" cy="804760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8" name="Textfeld 27">
            <a:extLst>
              <a:ext uri="{FF2B5EF4-FFF2-40B4-BE49-F238E27FC236}">
                <a16:creationId xmlns:a16="http://schemas.microsoft.com/office/drawing/2014/main" id="{311111E6-B3D4-E9A3-AB14-701F10F27130}"/>
              </a:ext>
            </a:extLst>
          </p:cNvPr>
          <p:cNvSpPr txBox="1"/>
          <p:nvPr/>
        </p:nvSpPr>
        <p:spPr>
          <a:xfrm>
            <a:off x="7395" y="5911187"/>
            <a:ext cx="1092201" cy="3074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Data Base</a:t>
            </a:r>
          </a:p>
        </p:txBody>
      </p:sp>
    </p:spTree>
    <p:extLst>
      <p:ext uri="{BB962C8B-B14F-4D97-AF65-F5344CB8AC3E}">
        <p14:creationId xmlns:p14="http://schemas.microsoft.com/office/powerpoint/2010/main" val="38384602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7E9A36-D1DB-7BBF-2A39-BBF48E368D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8A5BBA29-1D5D-B514-2E63-4BC6E3F38B8C}"/>
              </a:ext>
            </a:extLst>
          </p:cNvPr>
          <p:cNvSpPr/>
          <p:nvPr/>
        </p:nvSpPr>
        <p:spPr>
          <a:xfrm>
            <a:off x="0" y="0"/>
            <a:ext cx="12192000" cy="998609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5E3890D1-659B-5EEC-46CB-756E8F2DABF4}"/>
              </a:ext>
            </a:extLst>
          </p:cNvPr>
          <p:cNvSpPr/>
          <p:nvPr/>
        </p:nvSpPr>
        <p:spPr>
          <a:xfrm>
            <a:off x="0" y="6252899"/>
            <a:ext cx="12192000" cy="605101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823EC4F1-0F90-0E12-E2CD-38F4A94CDCE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03"/>
          <a:stretch/>
        </p:blipFill>
        <p:spPr>
          <a:xfrm>
            <a:off x="397010" y="1753829"/>
            <a:ext cx="7114133" cy="393514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2F4B3EA0-7CBB-15C3-E041-8735907E7DAC}"/>
              </a:ext>
            </a:extLst>
          </p:cNvPr>
          <p:cNvSpPr txBox="1"/>
          <p:nvPr/>
        </p:nvSpPr>
        <p:spPr>
          <a:xfrm>
            <a:off x="397010" y="5742677"/>
            <a:ext cx="436160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brighttail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ckie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wards 2020 </a:t>
            </a:r>
          </a:p>
        </p:txBody>
      </p:sp>
      <p:sp>
        <p:nvSpPr>
          <p:cNvPr id="2" name="Titel 4">
            <a:extLst>
              <a:ext uri="{FF2B5EF4-FFF2-40B4-BE49-F238E27FC236}">
                <a16:creationId xmlns:a16="http://schemas.microsoft.com/office/drawing/2014/main" id="{90884E71-F756-ED14-5471-E04A1F3BBC45}"/>
              </a:ext>
            </a:extLst>
          </p:cNvPr>
          <p:cNvSpPr txBox="1">
            <a:spLocks/>
          </p:cNvSpPr>
          <p:nvPr/>
        </p:nvSpPr>
        <p:spPr>
          <a:xfrm>
            <a:off x="397010" y="1217568"/>
            <a:ext cx="8593494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Exampl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omponents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of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marketing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tech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landscap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by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valu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reation</a:t>
            </a:r>
            <a:endParaRPr lang="de-DE" sz="1800" dirty="0">
              <a:solidFill>
                <a:srgbClr val="0E4D65"/>
              </a:solidFill>
              <a:latin typeface="Kefa" panose="02000506000000020004" pitchFamily="2" charset="77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40B4754-F472-5C96-4E84-3C2E8DDC4B18}"/>
              </a:ext>
            </a:extLst>
          </p:cNvPr>
          <p:cNvPicPr/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17548" y="1389"/>
            <a:ext cx="1774451" cy="998609"/>
          </a:xfrm>
          <a:prstGeom prst="rect">
            <a:avLst/>
          </a:prstGeom>
        </p:spPr>
      </p:pic>
      <p:pic>
        <p:nvPicPr>
          <p:cNvPr id="12" name="Grafik 1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BF0DD369-33BC-1444-05C3-48CE8C2B5A92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1"/>
            <a:ext cx="1657840" cy="999999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178661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4CDF14-27FB-B46C-4A98-2867DBAA38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D0567470-5C31-779E-1D84-6F5D955AE94A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0"/>
            <a:ext cx="12210226" cy="6864138"/>
            <a:chOff x="0" y="0"/>
            <a:chExt cx="12210226" cy="686413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D0EB0385-6B2A-9967-5C89-68511A65F2B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1385"/>
              <a:ext cx="12192000" cy="6856615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AA65E436-6B02-2EA4-5AEF-C1119A925075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126092" y="5837452"/>
              <a:ext cx="2065908" cy="1020551"/>
              <a:chOff x="13640723" y="13852530"/>
              <a:chExt cx="2782957" cy="1374769"/>
            </a:xfrm>
          </p:grpSpPr>
          <p:sp>
            <p:nvSpPr>
              <p:cNvPr id="15" name="Eine Ecke des Rechtecks abrunden 14">
                <a:extLst>
                  <a:ext uri="{FF2B5EF4-FFF2-40B4-BE49-F238E27FC236}">
                    <a16:creationId xmlns:a16="http://schemas.microsoft.com/office/drawing/2014/main" id="{8F8533B5-AE5B-8A69-39BA-221F0A23E201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flipH="1">
                <a:off x="13640723" y="13854395"/>
                <a:ext cx="2782957" cy="1372904"/>
              </a:xfrm>
              <a:prstGeom prst="round1Rect">
                <a:avLst/>
              </a:prstGeom>
              <a:solidFill>
                <a:srgbClr val="176D7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811"/>
              </a:p>
            </p:txBody>
          </p:sp>
          <p:pic>
            <p:nvPicPr>
              <p:cNvPr id="17" name="Grafik 16" descr="Ein Bild, das Schrift, Tex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25DC84DF-3277-688F-5F91-0E9C5C17E16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981556" y="13852530"/>
                <a:ext cx="2276060" cy="1372904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DF6BE420-1B5A-FAAA-1C2E-345BE1A3659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37607" y="0"/>
              <a:ext cx="1972619" cy="1110132"/>
            </a:xfrm>
            <a:prstGeom prst="rect">
              <a:avLst/>
            </a:prstGeom>
          </p:spPr>
        </p:pic>
        <p:sp>
          <p:nvSpPr>
            <p:cNvPr id="5" name="Eine Ecke des Rechtecks abrunden 4">
              <a:extLst>
                <a:ext uri="{FF2B5EF4-FFF2-40B4-BE49-F238E27FC236}">
                  <a16:creationId xmlns:a16="http://schemas.microsoft.com/office/drawing/2014/main" id="{FE55C524-46EC-A79F-E1E3-B0CCAF4FAFA0}"/>
                </a:ext>
              </a:extLst>
            </p:cNvPr>
            <p:cNvSpPr>
              <a:spLocks/>
            </p:cNvSpPr>
            <p:nvPr/>
          </p:nvSpPr>
          <p:spPr>
            <a:xfrm>
              <a:off x="1" y="1549400"/>
              <a:ext cx="8597900" cy="5314738"/>
            </a:xfrm>
            <a:prstGeom prst="round1Rect">
              <a:avLst/>
            </a:prstGeom>
            <a:solidFill>
              <a:srgbClr val="DDEF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EFE5DA82-045A-E63C-57A8-EB0EBB931A6C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662" y="2064769"/>
              <a:ext cx="570071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rgbClr val="0C4E66"/>
                  </a:solidFill>
                  <a:latin typeface="Kefa" panose="02000506000000020004" pitchFamily="2" charset="77"/>
                </a:rPr>
                <a:t>Marketing Tech Award 2024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086B9E0C-62EB-6E4C-4AFE-253F57864329}"/>
                </a:ext>
              </a:extLst>
            </p:cNvPr>
            <p:cNvSpPr txBox="1">
              <a:spLocks/>
            </p:cNvSpPr>
            <p:nvPr/>
          </p:nvSpPr>
          <p:spPr>
            <a:xfrm>
              <a:off x="656661" y="2921013"/>
              <a:ext cx="5700713" cy="265489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he Marketing Tech Award 2024 will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onc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gain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b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presented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during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Marketing Tech Summit on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October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8th and 9th at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Bolle Festsäle.</a:t>
              </a:r>
            </a:p>
            <a:p>
              <a:pPr>
                <a:lnSpc>
                  <a:spcPct val="120000"/>
                </a:lnSpc>
              </a:pP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The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deadline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for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submissions</a:t>
              </a:r>
              <a:b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lang="de-DE" sz="1400" b="1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August 16, 2024</a:t>
              </a: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Please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submit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entries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to</a:t>
              </a:r>
              <a:b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</a:br>
              <a:r>
                <a:rPr lang="de-DE" sz="1400" b="1" dirty="0" err="1">
                  <a:solidFill>
                    <a:srgbClr val="0C4E66"/>
                  </a:solidFill>
                  <a:latin typeface="Kefa"/>
                  <a:ea typeface="Roboto"/>
                  <a:cs typeface="Roboto"/>
                </a:rPr>
                <a:t>anja.ehrke@marketingtechlab.de</a:t>
              </a:r>
              <a:endParaRPr lang="de-DE" sz="1400" b="1" dirty="0">
                <a:solidFill>
                  <a:srgbClr val="0C4E66"/>
                </a:solidFill>
                <a:latin typeface="Kefa"/>
                <a:ea typeface="Roboto"/>
                <a:cs typeface="Roboto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798253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E2A4D97-EA9D-AE43-2395-68A2EFEADE8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33A51A45-FA41-B855-56EF-C29005F56895}"/>
              </a:ext>
            </a:extLst>
          </p:cNvPr>
          <p:cNvSpPr/>
          <p:nvPr/>
        </p:nvSpPr>
        <p:spPr>
          <a:xfrm>
            <a:off x="0" y="0"/>
            <a:ext cx="12192000" cy="998609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7D19854-A64B-1068-2A07-3F1B636BDE0F}"/>
              </a:ext>
            </a:extLst>
          </p:cNvPr>
          <p:cNvSpPr/>
          <p:nvPr/>
        </p:nvSpPr>
        <p:spPr>
          <a:xfrm>
            <a:off x="0" y="6252899"/>
            <a:ext cx="12192000" cy="605101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8A913CFF-3191-B3D4-A533-1CA57F19629C}"/>
              </a:ext>
            </a:extLst>
          </p:cNvPr>
          <p:cNvSpPr txBox="1"/>
          <p:nvPr/>
        </p:nvSpPr>
        <p:spPr>
          <a:xfrm>
            <a:off x="397010" y="5880948"/>
            <a:ext cx="436160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NBCS 2020,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ckie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ward</a:t>
            </a:r>
          </a:p>
        </p:txBody>
      </p:sp>
      <p:sp>
        <p:nvSpPr>
          <p:cNvPr id="2" name="Titel 4">
            <a:extLst>
              <a:ext uri="{FF2B5EF4-FFF2-40B4-BE49-F238E27FC236}">
                <a16:creationId xmlns:a16="http://schemas.microsoft.com/office/drawing/2014/main" id="{8D729C3A-4FB9-F6BE-FE68-8ED66E089F9B}"/>
              </a:ext>
            </a:extLst>
          </p:cNvPr>
          <p:cNvSpPr txBox="1">
            <a:spLocks/>
          </p:cNvSpPr>
          <p:nvPr/>
        </p:nvSpPr>
        <p:spPr>
          <a:xfrm>
            <a:off x="397010" y="1217568"/>
            <a:ext cx="8593494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Exampl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omponents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of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 Marketing Tech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landscap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by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valu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reation</a:t>
            </a:r>
            <a:endParaRPr lang="de-DE" sz="1800" dirty="0">
              <a:solidFill>
                <a:srgbClr val="0E4D65"/>
              </a:solidFill>
              <a:latin typeface="Kefa" panose="02000506000000020004" pitchFamily="2" charset="77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5E228A6-808F-6327-CA29-9D0CB734485D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7548" y="1389"/>
            <a:ext cx="1774451" cy="998609"/>
          </a:xfrm>
          <a:prstGeom prst="rect">
            <a:avLst/>
          </a:prstGeom>
        </p:spPr>
      </p:pic>
      <p:pic>
        <p:nvPicPr>
          <p:cNvPr id="12" name="Grafik 1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7A28E5D7-91E2-6DCA-A771-969E5B1D3A84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0" y="1"/>
            <a:ext cx="1657840" cy="999999"/>
          </a:xfrm>
          <a:prstGeom prst="rect">
            <a:avLst/>
          </a:prstGeom>
          <a:ln>
            <a:noFill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FB54EE9F-058F-6F85-8E01-2D19A814310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8" r="224" b="436"/>
          <a:stretch/>
        </p:blipFill>
        <p:spPr>
          <a:xfrm>
            <a:off x="397010" y="1745335"/>
            <a:ext cx="7114133" cy="40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556129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0CE82-0BDB-6E79-DAF6-7B329B6E560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0F90AB29-24BE-6306-F0AD-A517C363360B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079B4BAD-6953-A868-DCCA-1719B168F05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8051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880A9240-2731-C64E-B14B-0FF2536A93E5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37B1EA56-DBF6-E513-AC0F-9BD90D5C9D2B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A9C1E4AA-1A95-78A4-D0F0-637C9FF634E6}"/>
              </a:ext>
            </a:extLst>
          </p:cNvPr>
          <p:cNvSpPr/>
          <p:nvPr/>
        </p:nvSpPr>
        <p:spPr>
          <a:xfrm>
            <a:off x="0" y="1363573"/>
            <a:ext cx="3051173" cy="2456576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ED37D8F-C5BD-B7CA-BA27-DDE3FDC4C70B}"/>
              </a:ext>
            </a:extLst>
          </p:cNvPr>
          <p:cNvSpPr/>
          <p:nvPr/>
        </p:nvSpPr>
        <p:spPr>
          <a:xfrm>
            <a:off x="6096000" y="1363573"/>
            <a:ext cx="3051173" cy="2456576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F582FA1-E712-3614-90AC-050F23E71DC8}"/>
              </a:ext>
            </a:extLst>
          </p:cNvPr>
          <p:cNvSpPr/>
          <p:nvPr/>
        </p:nvSpPr>
        <p:spPr>
          <a:xfrm>
            <a:off x="3044827" y="1363573"/>
            <a:ext cx="3051173" cy="2456576"/>
          </a:xfrm>
          <a:prstGeom prst="rect">
            <a:avLst/>
          </a:prstGeom>
          <a:solidFill>
            <a:srgbClr val="DDEF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C7E734F-0E34-FF82-E2C6-AA2C8024B1E0}"/>
              </a:ext>
            </a:extLst>
          </p:cNvPr>
          <p:cNvSpPr/>
          <p:nvPr/>
        </p:nvSpPr>
        <p:spPr>
          <a:xfrm>
            <a:off x="0" y="4187121"/>
            <a:ext cx="12192000" cy="691463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CF8F5927-740A-EE84-EB13-4E445EFAFB87}"/>
              </a:ext>
            </a:extLst>
          </p:cNvPr>
          <p:cNvSpPr/>
          <p:nvPr/>
        </p:nvSpPr>
        <p:spPr>
          <a:xfrm>
            <a:off x="-8122" y="5181092"/>
            <a:ext cx="12192000" cy="691463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5BF3D18-01DD-6A0F-AD1C-DC45DDF6F1BB}"/>
              </a:ext>
            </a:extLst>
          </p:cNvPr>
          <p:cNvSpPr/>
          <p:nvPr/>
        </p:nvSpPr>
        <p:spPr>
          <a:xfrm>
            <a:off x="0" y="6166537"/>
            <a:ext cx="12192000" cy="691463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ECE4AAB7-5F9E-788D-A50D-E4E65A695699}"/>
              </a:ext>
            </a:extLst>
          </p:cNvPr>
          <p:cNvSpPr txBox="1"/>
          <p:nvPr/>
        </p:nvSpPr>
        <p:spPr>
          <a:xfrm>
            <a:off x="-5615" y="1058030"/>
            <a:ext cx="2087378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ware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ED175242-F810-2230-3C7F-7564C5B6E515}"/>
              </a:ext>
            </a:extLst>
          </p:cNvPr>
          <p:cNvSpPr txBox="1"/>
          <p:nvPr/>
        </p:nvSpPr>
        <p:spPr>
          <a:xfrm>
            <a:off x="3044827" y="1058030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Shop / Buy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6A95CDC5-2284-DBAA-E915-E9AB632F2DF9}"/>
              </a:ext>
            </a:extLst>
          </p:cNvPr>
          <p:cNvSpPr txBox="1"/>
          <p:nvPr/>
        </p:nvSpPr>
        <p:spPr>
          <a:xfrm>
            <a:off x="6095999" y="1058030"/>
            <a:ext cx="2730501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Install</a:t>
            </a:r>
            <a:endParaRPr lang="de-DE" sz="1200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816BF673-CB31-9A56-4195-564AE6B8169E}"/>
              </a:ext>
            </a:extLst>
          </p:cNvPr>
          <p:cNvSpPr txBox="1"/>
          <p:nvPr/>
        </p:nvSpPr>
        <p:spPr>
          <a:xfrm>
            <a:off x="0" y="3871444"/>
            <a:ext cx="4276725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llaborate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6C5AA7DD-4001-0008-ED42-6D3FA90F29BF}"/>
              </a:ext>
            </a:extLst>
          </p:cNvPr>
          <p:cNvSpPr txBox="1"/>
          <p:nvPr/>
        </p:nvSpPr>
        <p:spPr>
          <a:xfrm>
            <a:off x="-36514" y="4865415"/>
            <a:ext cx="1796496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nalyze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82564443-E4D0-F603-8B0F-D5B86CF21EA1}"/>
              </a:ext>
            </a:extLst>
          </p:cNvPr>
          <p:cNvSpPr txBox="1"/>
          <p:nvPr/>
        </p:nvSpPr>
        <p:spPr>
          <a:xfrm>
            <a:off x="-8122" y="5868511"/>
            <a:ext cx="4399996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BFD1C06E-3467-6922-A884-F33ACE062668}"/>
              </a:ext>
            </a:extLst>
          </p:cNvPr>
          <p:cNvSpPr/>
          <p:nvPr/>
        </p:nvSpPr>
        <p:spPr>
          <a:xfrm>
            <a:off x="9140826" y="1363573"/>
            <a:ext cx="3051173" cy="2456576"/>
          </a:xfrm>
          <a:prstGeom prst="rect">
            <a:avLst/>
          </a:prstGeom>
          <a:solidFill>
            <a:srgbClr val="DDEFF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DA7EAF76-0129-FED4-4AE0-5B9704123268}"/>
              </a:ext>
            </a:extLst>
          </p:cNvPr>
          <p:cNvSpPr txBox="1"/>
          <p:nvPr/>
        </p:nvSpPr>
        <p:spPr>
          <a:xfrm>
            <a:off x="9140826" y="1054497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Renew</a:t>
            </a:r>
            <a:endParaRPr lang="de-DE" sz="1200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310400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5C80EB9-B4FA-18B4-C3F0-2C372E98F96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C95704F6-6D1B-EEC2-833C-D845F3C33C36}"/>
              </a:ext>
            </a:extLst>
          </p:cNvPr>
          <p:cNvSpPr/>
          <p:nvPr/>
        </p:nvSpPr>
        <p:spPr>
          <a:xfrm>
            <a:off x="0" y="0"/>
            <a:ext cx="12192000" cy="998609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0F87C57-E90D-5090-18C5-5DAA407A7173}"/>
              </a:ext>
            </a:extLst>
          </p:cNvPr>
          <p:cNvSpPr/>
          <p:nvPr/>
        </p:nvSpPr>
        <p:spPr>
          <a:xfrm>
            <a:off x="0" y="6252899"/>
            <a:ext cx="12192000" cy="605101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C40AD3AA-B202-B24E-DDA7-BBB41FB00A7D}"/>
              </a:ext>
            </a:extLst>
          </p:cNvPr>
          <p:cNvSpPr txBox="1"/>
          <p:nvPr/>
        </p:nvSpPr>
        <p:spPr>
          <a:xfrm>
            <a:off x="397010" y="5880948"/>
            <a:ext cx="436160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Cisco Systems,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ckie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ward 2020</a:t>
            </a:r>
          </a:p>
        </p:txBody>
      </p:sp>
      <p:sp>
        <p:nvSpPr>
          <p:cNvPr id="2" name="Titel 4">
            <a:extLst>
              <a:ext uri="{FF2B5EF4-FFF2-40B4-BE49-F238E27FC236}">
                <a16:creationId xmlns:a16="http://schemas.microsoft.com/office/drawing/2014/main" id="{68A84E5E-541F-6EAC-D2D1-0B88C09E1399}"/>
              </a:ext>
            </a:extLst>
          </p:cNvPr>
          <p:cNvSpPr txBox="1">
            <a:spLocks/>
          </p:cNvSpPr>
          <p:nvPr/>
        </p:nvSpPr>
        <p:spPr>
          <a:xfrm>
            <a:off x="397010" y="1217568"/>
            <a:ext cx="968938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Exampl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omponents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of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 Marketing Tech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landscap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by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Customer Journey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phases</a:t>
            </a:r>
            <a:endParaRPr lang="de-DE" sz="1800" dirty="0">
              <a:solidFill>
                <a:srgbClr val="0E4D65"/>
              </a:solidFill>
              <a:latin typeface="Kefa" panose="02000506000000020004" pitchFamily="2" charset="77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14607990-2FC0-6006-EC70-E3516D33B683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7548" y="1389"/>
            <a:ext cx="1774451" cy="998609"/>
          </a:xfrm>
          <a:prstGeom prst="rect">
            <a:avLst/>
          </a:prstGeom>
        </p:spPr>
      </p:pic>
      <p:pic>
        <p:nvPicPr>
          <p:cNvPr id="12" name="Grafik 1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12D4300E-6A7B-CB74-260F-FEC119383867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0" y="1"/>
            <a:ext cx="1657840" cy="999999"/>
          </a:xfrm>
          <a:prstGeom prst="rect">
            <a:avLst/>
          </a:prstGeom>
          <a:ln>
            <a:noFill/>
          </a:ln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77CC4958-F87C-A390-15EC-D9995FB2CD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81" b="916"/>
          <a:stretch/>
        </p:blipFill>
        <p:spPr>
          <a:xfrm>
            <a:off x="408661" y="1745336"/>
            <a:ext cx="7242441" cy="400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929067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E0C140-3D64-41E9-669D-247FEDBE02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uppieren 48">
            <a:extLst>
              <a:ext uri="{FF2B5EF4-FFF2-40B4-BE49-F238E27FC236}">
                <a16:creationId xmlns:a16="http://schemas.microsoft.com/office/drawing/2014/main" id="{CE5175C6-7635-355A-D81D-9595E8817D7D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-1390"/>
            <a:ext cx="12192000" cy="1000000"/>
            <a:chOff x="0" y="-1390"/>
            <a:chExt cx="12192000" cy="1000000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5C3D43A9-8CAD-9BE4-D649-D021EBC8E1E2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-1390"/>
              <a:ext cx="12192000" cy="998051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2880C645-05AD-A69E-927B-21A9BC08B0FD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0417548" y="-1"/>
              <a:ext cx="1774451" cy="998609"/>
            </a:xfrm>
            <a:prstGeom prst="rect">
              <a:avLst/>
            </a:prstGeom>
          </p:spPr>
        </p:pic>
        <p:pic>
          <p:nvPicPr>
            <p:cNvPr id="11" name="Grafik 10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338E626C-04CC-F841-92C4-D1260930753A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0" y="-1389"/>
              <a:ext cx="1657840" cy="999999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7" name="Rechteck 6">
            <a:extLst>
              <a:ext uri="{FF2B5EF4-FFF2-40B4-BE49-F238E27FC236}">
                <a16:creationId xmlns:a16="http://schemas.microsoft.com/office/drawing/2014/main" id="{AF32D76C-E93E-30A4-5688-04A7F1308CFA}"/>
              </a:ext>
            </a:extLst>
          </p:cNvPr>
          <p:cNvSpPr/>
          <p:nvPr/>
        </p:nvSpPr>
        <p:spPr>
          <a:xfrm>
            <a:off x="234395" y="1375173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B9E1FC1F-518B-7FB3-C43D-6334291FEEF2}"/>
              </a:ext>
            </a:extLst>
          </p:cNvPr>
          <p:cNvSpPr txBox="1"/>
          <p:nvPr/>
        </p:nvSpPr>
        <p:spPr>
          <a:xfrm>
            <a:off x="234394" y="1058030"/>
            <a:ext cx="818415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7BA2BF4-2EC9-59F1-AB68-1AB79DD08DD4}"/>
              </a:ext>
            </a:extLst>
          </p:cNvPr>
          <p:cNvSpPr txBox="1"/>
          <p:nvPr/>
        </p:nvSpPr>
        <p:spPr>
          <a:xfrm>
            <a:off x="2565362" y="1071988"/>
            <a:ext cx="2730501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Voice </a:t>
            </a: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Customer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46D5E0C4-463A-F1E9-B5AA-9428513086BA}"/>
              </a:ext>
            </a:extLst>
          </p:cNvPr>
          <p:cNvSpPr txBox="1"/>
          <p:nvPr/>
        </p:nvSpPr>
        <p:spPr>
          <a:xfrm>
            <a:off x="9797529" y="2435889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ustomer Engagemen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F9B4C4BE-4A66-3FC6-6FA7-F429234DBA03}"/>
              </a:ext>
            </a:extLst>
          </p:cNvPr>
          <p:cNvSpPr/>
          <p:nvPr/>
        </p:nvSpPr>
        <p:spPr>
          <a:xfrm>
            <a:off x="234394" y="2751736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95C3FC6-0437-62AB-F9AC-A7B8F567F8B0}"/>
              </a:ext>
            </a:extLst>
          </p:cNvPr>
          <p:cNvSpPr/>
          <p:nvPr/>
        </p:nvSpPr>
        <p:spPr>
          <a:xfrm>
            <a:off x="234394" y="4130233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2E857B2D-F500-BE5B-7722-3975BE4115CD}"/>
              </a:ext>
            </a:extLst>
          </p:cNvPr>
          <p:cNvSpPr/>
          <p:nvPr/>
        </p:nvSpPr>
        <p:spPr>
          <a:xfrm>
            <a:off x="2565399" y="5502395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7C2DBFE-16BA-F024-A7A8-067EFC919F1A}"/>
              </a:ext>
            </a:extLst>
          </p:cNvPr>
          <p:cNvSpPr/>
          <p:nvPr/>
        </p:nvSpPr>
        <p:spPr>
          <a:xfrm>
            <a:off x="7346967" y="5484294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35986374-88C7-F32A-4377-53A2A05F521D}"/>
              </a:ext>
            </a:extLst>
          </p:cNvPr>
          <p:cNvSpPr/>
          <p:nvPr/>
        </p:nvSpPr>
        <p:spPr>
          <a:xfrm>
            <a:off x="4956182" y="5502394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2954A3B0-4E83-8B2E-2DA3-7E9A5D5384A5}"/>
              </a:ext>
            </a:extLst>
          </p:cNvPr>
          <p:cNvSpPr/>
          <p:nvPr/>
        </p:nvSpPr>
        <p:spPr>
          <a:xfrm>
            <a:off x="2565400" y="2748802"/>
            <a:ext cx="2172737" cy="2376548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B55C4226-14A9-B7FD-FC50-16B37E4D82A6}"/>
              </a:ext>
            </a:extLst>
          </p:cNvPr>
          <p:cNvSpPr/>
          <p:nvPr/>
        </p:nvSpPr>
        <p:spPr>
          <a:xfrm>
            <a:off x="9797530" y="1373707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0" name="Rechteck 29">
            <a:extLst>
              <a:ext uri="{FF2B5EF4-FFF2-40B4-BE49-F238E27FC236}">
                <a16:creationId xmlns:a16="http://schemas.microsoft.com/office/drawing/2014/main" id="{93E0ED81-E504-BB1F-9109-F22480693263}"/>
              </a:ext>
            </a:extLst>
          </p:cNvPr>
          <p:cNvSpPr/>
          <p:nvPr/>
        </p:nvSpPr>
        <p:spPr>
          <a:xfrm>
            <a:off x="9797529" y="2750270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E49B22E2-146D-332F-7F00-F3D675620242}"/>
              </a:ext>
            </a:extLst>
          </p:cNvPr>
          <p:cNvSpPr/>
          <p:nvPr/>
        </p:nvSpPr>
        <p:spPr>
          <a:xfrm>
            <a:off x="9797529" y="4128767"/>
            <a:ext cx="2172737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0A365C97-B209-7926-78C4-A25C3C2427BA}"/>
              </a:ext>
            </a:extLst>
          </p:cNvPr>
          <p:cNvSpPr/>
          <p:nvPr/>
        </p:nvSpPr>
        <p:spPr>
          <a:xfrm>
            <a:off x="2565400" y="1373706"/>
            <a:ext cx="7073900" cy="998051"/>
          </a:xfrm>
          <a:prstGeom prst="rect">
            <a:avLst/>
          </a:prstGeom>
          <a:solidFill>
            <a:srgbClr val="A2D8DA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313111B4-3F99-4DF7-0D2E-0F4999370037}"/>
              </a:ext>
            </a:extLst>
          </p:cNvPr>
          <p:cNvSpPr/>
          <p:nvPr/>
        </p:nvSpPr>
        <p:spPr>
          <a:xfrm>
            <a:off x="4956183" y="2748802"/>
            <a:ext cx="2172737" cy="2376548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D2A31117-C60B-5BCD-F728-B99EDCCFE241}"/>
              </a:ext>
            </a:extLst>
          </p:cNvPr>
          <p:cNvSpPr/>
          <p:nvPr/>
        </p:nvSpPr>
        <p:spPr>
          <a:xfrm>
            <a:off x="7346967" y="2748802"/>
            <a:ext cx="2172737" cy="2376548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B2DD52FF-2897-F8B8-B73D-EB4392356842}"/>
              </a:ext>
            </a:extLst>
          </p:cNvPr>
          <p:cNvSpPr/>
          <p:nvPr/>
        </p:nvSpPr>
        <p:spPr>
          <a:xfrm>
            <a:off x="4738136" y="3488193"/>
            <a:ext cx="218046" cy="998051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A5C9C2D3-9B20-F65E-19E3-D11A9B28B81E}"/>
              </a:ext>
            </a:extLst>
          </p:cNvPr>
          <p:cNvSpPr/>
          <p:nvPr/>
        </p:nvSpPr>
        <p:spPr>
          <a:xfrm>
            <a:off x="7128920" y="3488193"/>
            <a:ext cx="218046" cy="998051"/>
          </a:xfrm>
          <a:prstGeom prst="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2A3A8E7A-3514-CA6D-F5A5-67978163AACB}"/>
              </a:ext>
            </a:extLst>
          </p:cNvPr>
          <p:cNvSpPr txBox="1"/>
          <p:nvPr/>
        </p:nvSpPr>
        <p:spPr>
          <a:xfrm>
            <a:off x="9797529" y="1066157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nalytics &amp; Reporting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3B4101AA-F0B0-E9EE-86EC-CCCECBD6B5C7}"/>
              </a:ext>
            </a:extLst>
          </p:cNvPr>
          <p:cNvSpPr txBox="1"/>
          <p:nvPr/>
        </p:nvSpPr>
        <p:spPr>
          <a:xfrm>
            <a:off x="9797529" y="3796176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Sales &amp; Service</a:t>
            </a: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A189ECE1-4712-EAC0-E9CD-A7240220FD6F}"/>
              </a:ext>
            </a:extLst>
          </p:cNvPr>
          <p:cNvSpPr txBox="1"/>
          <p:nvPr/>
        </p:nvSpPr>
        <p:spPr>
          <a:xfrm>
            <a:off x="234394" y="2443199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Optimization</a:t>
            </a:r>
          </a:p>
        </p:txBody>
      </p:sp>
      <p:sp>
        <p:nvSpPr>
          <p:cNvPr id="41" name="Textfeld 40">
            <a:extLst>
              <a:ext uri="{FF2B5EF4-FFF2-40B4-BE49-F238E27FC236}">
                <a16:creationId xmlns:a16="http://schemas.microsoft.com/office/drawing/2014/main" id="{BD3A6EDA-35DC-120B-5507-C103F7416716}"/>
              </a:ext>
            </a:extLst>
          </p:cNvPr>
          <p:cNvSpPr txBox="1"/>
          <p:nvPr/>
        </p:nvSpPr>
        <p:spPr>
          <a:xfrm>
            <a:off x="234393" y="3803596"/>
            <a:ext cx="2053182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Experience Management</a:t>
            </a: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EC36EC4E-449E-80F7-A612-392206622CF5}"/>
              </a:ext>
            </a:extLst>
          </p:cNvPr>
          <p:cNvSpPr txBox="1"/>
          <p:nvPr/>
        </p:nvSpPr>
        <p:spPr>
          <a:xfrm>
            <a:off x="2565362" y="5178691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ntent &amp; Translation</a:t>
            </a:r>
          </a:p>
        </p:txBody>
      </p:sp>
      <p:sp>
        <p:nvSpPr>
          <p:cNvPr id="43" name="Textfeld 42">
            <a:extLst>
              <a:ext uri="{FF2B5EF4-FFF2-40B4-BE49-F238E27FC236}">
                <a16:creationId xmlns:a16="http://schemas.microsoft.com/office/drawing/2014/main" id="{9B235908-6C46-8A45-FD66-429210EF8492}"/>
              </a:ext>
            </a:extLst>
          </p:cNvPr>
          <p:cNvSpPr txBox="1"/>
          <p:nvPr/>
        </p:nvSpPr>
        <p:spPr>
          <a:xfrm>
            <a:off x="4956164" y="5190634"/>
            <a:ext cx="2054236" cy="3020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mmerce &amp; Market Places</a:t>
            </a:r>
          </a:p>
        </p:txBody>
      </p:sp>
      <p:sp>
        <p:nvSpPr>
          <p:cNvPr id="44" name="Textfeld 43">
            <a:extLst>
              <a:ext uri="{FF2B5EF4-FFF2-40B4-BE49-F238E27FC236}">
                <a16:creationId xmlns:a16="http://schemas.microsoft.com/office/drawing/2014/main" id="{086F4BD9-4EE9-DFAB-950C-D791F2336AEC}"/>
              </a:ext>
            </a:extLst>
          </p:cNvPr>
          <p:cNvSpPr txBox="1"/>
          <p:nvPr/>
        </p:nvSpPr>
        <p:spPr>
          <a:xfrm>
            <a:off x="7346966" y="5152020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mmunities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6A31F0D3-768F-405E-2CD3-BCF28282A589}"/>
              </a:ext>
            </a:extLst>
          </p:cNvPr>
          <p:cNvSpPr txBox="1"/>
          <p:nvPr/>
        </p:nvSpPr>
        <p:spPr>
          <a:xfrm>
            <a:off x="4956163" y="2422602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onvert</a:t>
            </a:r>
            <a:endParaRPr lang="de-DE" sz="1200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46" name="Textfeld 45">
            <a:extLst>
              <a:ext uri="{FF2B5EF4-FFF2-40B4-BE49-F238E27FC236}">
                <a16:creationId xmlns:a16="http://schemas.microsoft.com/office/drawing/2014/main" id="{195E70D4-83B5-559C-B0F0-D5E4DC32922E}"/>
              </a:ext>
            </a:extLst>
          </p:cNvPr>
          <p:cNvSpPr txBox="1"/>
          <p:nvPr/>
        </p:nvSpPr>
        <p:spPr>
          <a:xfrm>
            <a:off x="2565361" y="2422602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Awareness</a:t>
            </a:r>
          </a:p>
        </p:txBody>
      </p:sp>
      <p:sp>
        <p:nvSpPr>
          <p:cNvPr id="47" name="Textfeld 46">
            <a:extLst>
              <a:ext uri="{FF2B5EF4-FFF2-40B4-BE49-F238E27FC236}">
                <a16:creationId xmlns:a16="http://schemas.microsoft.com/office/drawing/2014/main" id="{ABD9C3C3-4ECE-E12F-B4AD-1C7BFBEF19B7}"/>
              </a:ext>
            </a:extLst>
          </p:cNvPr>
          <p:cNvSpPr txBox="1"/>
          <p:nvPr/>
        </p:nvSpPr>
        <p:spPr>
          <a:xfrm>
            <a:off x="7346965" y="2435889"/>
            <a:ext cx="1743073" cy="3056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Service</a:t>
            </a:r>
          </a:p>
        </p:txBody>
      </p:sp>
      <p:sp>
        <p:nvSpPr>
          <p:cNvPr id="48" name="Textfeld 47">
            <a:extLst>
              <a:ext uri="{FF2B5EF4-FFF2-40B4-BE49-F238E27FC236}">
                <a16:creationId xmlns:a16="http://schemas.microsoft.com/office/drawing/2014/main" id="{5EF14348-F0C7-981B-F513-EF46DE4B54D8}"/>
              </a:ext>
            </a:extLst>
          </p:cNvPr>
          <p:cNvSpPr txBox="1"/>
          <p:nvPr/>
        </p:nvSpPr>
        <p:spPr>
          <a:xfrm>
            <a:off x="5389558" y="3840030"/>
            <a:ext cx="1412883" cy="2943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de-DE" sz="1200" b="1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ustomer </a:t>
            </a:r>
            <a:r>
              <a:rPr lang="de-DE" sz="1200" b="1" dirty="0" err="1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Funnel</a:t>
            </a:r>
            <a:endParaRPr lang="de-DE" sz="1200" b="1" dirty="0">
              <a:solidFill>
                <a:srgbClr val="0C4E66"/>
              </a:solidFill>
              <a:latin typeface="Kefa" panose="02000506000000020004" pitchFamily="2" charset="77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283208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4EDC7AC-C2A8-BF76-528A-A43426452C4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1C59986E-6DB2-5D81-1DA7-FA46D53AFCA8}"/>
              </a:ext>
            </a:extLst>
          </p:cNvPr>
          <p:cNvSpPr/>
          <p:nvPr/>
        </p:nvSpPr>
        <p:spPr>
          <a:xfrm>
            <a:off x="0" y="0"/>
            <a:ext cx="12192000" cy="998609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199AE6B1-9429-B9E4-0923-DD0927C3B27A}"/>
              </a:ext>
            </a:extLst>
          </p:cNvPr>
          <p:cNvSpPr/>
          <p:nvPr/>
        </p:nvSpPr>
        <p:spPr>
          <a:xfrm>
            <a:off x="0" y="6252899"/>
            <a:ext cx="12192000" cy="605101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DFDD3937-B56E-9743-96A7-02C7EBE7D6C3}"/>
              </a:ext>
            </a:extLst>
          </p:cNvPr>
          <p:cNvSpPr txBox="1"/>
          <p:nvPr/>
        </p:nvSpPr>
        <p:spPr>
          <a:xfrm>
            <a:off x="397010" y="5880948"/>
            <a:ext cx="4361602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l"/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ource: Philips, Marketing Tech Monitor 2021, </a:t>
            </a:r>
            <a:r>
              <a:rPr lang="en-US" sz="1000" dirty="0" err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tackie</a:t>
            </a:r>
            <a:r>
              <a:rPr lang="en-US" sz="1000" dirty="0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Award</a:t>
            </a:r>
          </a:p>
        </p:txBody>
      </p:sp>
      <p:sp>
        <p:nvSpPr>
          <p:cNvPr id="2" name="Titel 4">
            <a:extLst>
              <a:ext uri="{FF2B5EF4-FFF2-40B4-BE49-F238E27FC236}">
                <a16:creationId xmlns:a16="http://schemas.microsoft.com/office/drawing/2014/main" id="{17028DD2-04FD-A5C3-3894-8413E1372E49}"/>
              </a:ext>
            </a:extLst>
          </p:cNvPr>
          <p:cNvSpPr txBox="1">
            <a:spLocks/>
          </p:cNvSpPr>
          <p:nvPr/>
        </p:nvSpPr>
        <p:spPr>
          <a:xfrm>
            <a:off x="397010" y="1217568"/>
            <a:ext cx="11882076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Exampl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omponents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of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 Marketing Tech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landscap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by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internal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value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reation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and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customer</a:t>
            </a:r>
            <a:r>
              <a:rPr lang="de-DE" sz="1800" dirty="0">
                <a:solidFill>
                  <a:srgbClr val="0E4D65"/>
                </a:solidFill>
                <a:latin typeface="Kefa" panose="02000506000000020004" pitchFamily="2" charset="77"/>
              </a:rPr>
              <a:t> </a:t>
            </a:r>
            <a:r>
              <a:rPr lang="de-DE" sz="1800" dirty="0" err="1">
                <a:solidFill>
                  <a:srgbClr val="0E4D65"/>
                </a:solidFill>
                <a:latin typeface="Kefa" panose="02000506000000020004" pitchFamily="2" charset="77"/>
              </a:rPr>
              <a:t>funnel</a:t>
            </a:r>
            <a:endParaRPr lang="de-DE" sz="1800" dirty="0">
              <a:solidFill>
                <a:srgbClr val="0E4D65"/>
              </a:solidFill>
              <a:latin typeface="Kefa" panose="02000506000000020004" pitchFamily="2" charset="77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C2EDA64C-65E9-2C5D-02D9-F1E614F294DE}"/>
              </a:ext>
            </a:extLst>
          </p:cNvPr>
          <p:cNvPicPr/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417548" y="1389"/>
            <a:ext cx="1774451" cy="998609"/>
          </a:xfrm>
          <a:prstGeom prst="rect">
            <a:avLst/>
          </a:prstGeom>
        </p:spPr>
      </p:pic>
      <p:pic>
        <p:nvPicPr>
          <p:cNvPr id="12" name="Grafik 11" descr="Ein Bild, das Schrift, Text, Screenshot, Grafiken enthält.&#10;&#10;Automatisch generierte Beschreibung">
            <a:extLst>
              <a:ext uri="{FF2B5EF4-FFF2-40B4-BE49-F238E27FC236}">
                <a16:creationId xmlns:a16="http://schemas.microsoft.com/office/drawing/2014/main" id="{79EAFCB5-2CA4-437B-429E-9E476D31305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0" y="1"/>
            <a:ext cx="1657840" cy="999999"/>
          </a:xfrm>
          <a:prstGeom prst="rect">
            <a:avLst/>
          </a:prstGeom>
          <a:ln>
            <a:noFill/>
          </a:ln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AC4FEBA-421A-0190-D015-12D0895AF54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r="456" b="1260"/>
          <a:stretch/>
        </p:blipFill>
        <p:spPr>
          <a:xfrm>
            <a:off x="423548" y="1745337"/>
            <a:ext cx="7233172" cy="4000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7969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E6D813-2E82-1ABF-C5FA-975A39085FA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629D55A7-78F4-3B04-1C3F-E687E7ED9095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0"/>
            <a:ext cx="12210226" cy="6864138"/>
            <a:chOff x="0" y="0"/>
            <a:chExt cx="12210226" cy="686413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71ED42C4-1EB4-8BF9-9098-FDF61EA32471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1385"/>
              <a:ext cx="12192000" cy="6856615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pPr algn="ctr"/>
              <a:endParaRPr lang="de-DE" sz="811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6142DA0C-315D-9595-5BC8-0497387C9009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126092" y="5837452"/>
              <a:ext cx="2065908" cy="1020551"/>
              <a:chOff x="13640723" y="13852530"/>
              <a:chExt cx="2782957" cy="1374769"/>
            </a:xfrm>
          </p:grpSpPr>
          <p:sp>
            <p:nvSpPr>
              <p:cNvPr id="15" name="Eine Ecke des Rechtecks abrunden 14">
                <a:extLst>
                  <a:ext uri="{FF2B5EF4-FFF2-40B4-BE49-F238E27FC236}">
                    <a16:creationId xmlns:a16="http://schemas.microsoft.com/office/drawing/2014/main" id="{E369DE9F-F575-FDBC-CF26-841696123357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flipH="1">
                <a:off x="13640723" y="13854395"/>
                <a:ext cx="2782957" cy="1372904"/>
              </a:xfrm>
              <a:prstGeom prst="round1Rect">
                <a:avLst/>
              </a:prstGeom>
              <a:solidFill>
                <a:srgbClr val="176D7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811"/>
              </a:p>
            </p:txBody>
          </p:sp>
          <p:pic>
            <p:nvPicPr>
              <p:cNvPr id="17" name="Grafik 16" descr="Ein Bild, das Schrift, Tex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496DB7A8-C268-FEA4-D746-AD234EAB6D9F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2"/>
              <a:stretch>
                <a:fillRect/>
              </a:stretch>
            </p:blipFill>
            <p:spPr>
              <a:xfrm>
                <a:off x="13981556" y="13852530"/>
                <a:ext cx="2276060" cy="1372904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62D8D9F8-7877-CEDB-C7EB-DFC96633C7E8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37607" y="0"/>
              <a:ext cx="1972619" cy="1110132"/>
            </a:xfrm>
            <a:prstGeom prst="rect">
              <a:avLst/>
            </a:prstGeom>
          </p:spPr>
        </p:pic>
        <p:sp>
          <p:nvSpPr>
            <p:cNvPr id="8" name="Eine Ecke des Rechtecks abrunden 7">
              <a:extLst>
                <a:ext uri="{FF2B5EF4-FFF2-40B4-BE49-F238E27FC236}">
                  <a16:creationId xmlns:a16="http://schemas.microsoft.com/office/drawing/2014/main" id="{A6956A65-6782-8AC8-F1E4-AB1B368A90AF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1" y="1549400"/>
              <a:ext cx="8597900" cy="5314738"/>
            </a:xfrm>
            <a:prstGeom prst="round1Rect">
              <a:avLst/>
            </a:prstGeom>
            <a:solidFill>
              <a:srgbClr val="DDEF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sp>
          <p:nvSpPr>
            <p:cNvPr id="9" name="Textfeld 8">
              <a:extLst>
                <a:ext uri="{FF2B5EF4-FFF2-40B4-BE49-F238E27FC236}">
                  <a16:creationId xmlns:a16="http://schemas.microsoft.com/office/drawing/2014/main" id="{9DC143D2-D98A-9293-ED40-7578F5A18ABB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662" y="2064769"/>
              <a:ext cx="570071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rgbClr val="0C4E66"/>
                  </a:solidFill>
                  <a:latin typeface="Kefa" panose="02000506000000020004" pitchFamily="2" charset="77"/>
                </a:rPr>
                <a:t>Marketing Tech Award 2024</a:t>
              </a:r>
            </a:p>
          </p:txBody>
        </p:sp>
        <p:sp>
          <p:nvSpPr>
            <p:cNvPr id="11" name="Textfeld 10">
              <a:extLst>
                <a:ext uri="{FF2B5EF4-FFF2-40B4-BE49-F238E27FC236}">
                  <a16:creationId xmlns:a16="http://schemas.microsoft.com/office/drawing/2014/main" id="{ED967FAD-2AC7-AB47-21CC-C6267F67A686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661" y="2921013"/>
              <a:ext cx="5700713" cy="3285579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W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r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happy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o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ssist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you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with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any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questions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and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suggestions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regarding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 panose="02000000000000000000" pitchFamily="2" charset="0"/>
                  <a:ea typeface="Roboto" panose="02000000000000000000" pitchFamily="2" charset="0"/>
                  <a:cs typeface="Roboto" panose="02000000000000000000" pitchFamily="2" charset="0"/>
                </a:rPr>
                <a:t> Marketing Tech Award 2024.</a:t>
              </a:r>
            </a:p>
            <a:p>
              <a:pPr>
                <a:lnSpc>
                  <a:spcPct val="120000"/>
                </a:lnSpc>
              </a:pPr>
              <a:endParaRPr lang="de-DE" sz="1400" dirty="0">
                <a:solidFill>
                  <a:srgbClr val="0C4E66"/>
                </a:solidFill>
                <a:latin typeface="Roboto Medium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r>
                <a:rPr lang="de-DE" sz="1400" dirty="0">
                  <a:solidFill>
                    <a:srgbClr val="0C4E66"/>
                  </a:solidFill>
                  <a:latin typeface="Roboto Medium"/>
                  <a:ea typeface="+mn-lt"/>
                  <a:cs typeface="+mn-lt"/>
                </a:rPr>
                <a:t>Anja </a:t>
              </a:r>
              <a:r>
                <a:rPr lang="de-DE" sz="1400" dirty="0" err="1">
                  <a:solidFill>
                    <a:srgbClr val="0C4E66"/>
                  </a:solidFill>
                  <a:latin typeface="Roboto Medium"/>
                  <a:ea typeface="+mn-lt"/>
                  <a:cs typeface="+mn-lt"/>
                </a:rPr>
                <a:t>Ehrke</a:t>
              </a:r>
              <a:endParaRPr lang="de-DE" dirty="0">
                <a:latin typeface="Roboto Medium"/>
                <a:ea typeface="Roboto Medium"/>
                <a:cs typeface="Roboto Medium"/>
              </a:endParaRPr>
            </a:p>
            <a:p>
              <a:r>
                <a:rPr lang="de-DE" sz="1400" dirty="0">
                  <a:solidFill>
                    <a:srgbClr val="0C4E66"/>
                  </a:solidFill>
                  <a:latin typeface="Roboto Light"/>
                  <a:ea typeface="+mn-lt"/>
                  <a:cs typeface="+mn-lt"/>
                </a:rPr>
                <a:t>Senior Projektmanagerin Events</a:t>
              </a:r>
              <a:endParaRPr lang="de-DE" dirty="0">
                <a:latin typeface="Roboto Light"/>
                <a:ea typeface="Roboto Medium"/>
                <a:cs typeface="Roboto Medium"/>
              </a:endParaRPr>
            </a:p>
            <a:p>
              <a:endParaRPr lang="de-DE" dirty="0">
                <a:latin typeface="Roboto Medium"/>
                <a:ea typeface="Roboto Medium"/>
                <a:cs typeface="Roboto Medium"/>
              </a:endParaRPr>
            </a:p>
            <a:p>
              <a:r>
                <a:rPr lang="de-DE" sz="1400" dirty="0">
                  <a:solidFill>
                    <a:srgbClr val="0C4E66"/>
                  </a:solidFill>
                  <a:latin typeface="Roboto Medium"/>
                  <a:ea typeface="+mn-lt"/>
                  <a:cs typeface="+mn-lt"/>
                  <a:hlinkClick r:id="rId5"/>
                </a:rPr>
                <a:t>anja.ehrke@marketingtechlab.de</a:t>
              </a:r>
              <a:endParaRPr lang="de-DE" dirty="0">
                <a:latin typeface="Roboto Medium"/>
                <a:ea typeface="Roboto Medium"/>
                <a:cs typeface="Roboto Medium"/>
              </a:endParaRPr>
            </a:p>
            <a:p>
              <a:r>
                <a:rPr lang="de-DE" sz="1400">
                  <a:solidFill>
                    <a:srgbClr val="0C4E66"/>
                  </a:solidFill>
                  <a:latin typeface="Roboto Light"/>
                  <a:ea typeface="+mn-lt"/>
                  <a:cs typeface="+mn-lt"/>
                </a:rPr>
                <a:t>Phone: </a:t>
              </a:r>
              <a:r>
                <a:rPr lang="de-DE" sz="1400" dirty="0">
                  <a:solidFill>
                    <a:srgbClr val="0C4E66"/>
                  </a:solidFill>
                  <a:latin typeface="Roboto Light"/>
                  <a:ea typeface="+mn-lt"/>
                  <a:cs typeface="+mn-lt"/>
                </a:rPr>
                <a:t>+49 (0)160 9069 2994</a:t>
              </a:r>
              <a:endParaRPr lang="de-DE" dirty="0">
                <a:solidFill>
                  <a:srgbClr val="000000"/>
                </a:solidFill>
                <a:latin typeface="Roboto Light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endParaRPr lang="de-DE" sz="1400" b="1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r>
                <a:rPr lang="de-DE" sz="1400" b="1" dirty="0" err="1">
                  <a:solidFill>
                    <a:srgbClr val="0C4E66"/>
                  </a:solidFill>
                  <a:latin typeface="Kefa"/>
                  <a:ea typeface="Roboto"/>
                  <a:cs typeface="Roboto"/>
                </a:rPr>
                <a:t>MarketingTechLab</a:t>
              </a:r>
              <a:r>
                <a:rPr lang="de-DE" sz="1400" b="1" dirty="0">
                  <a:solidFill>
                    <a:srgbClr val="0C4E66"/>
                  </a:solidFill>
                  <a:latin typeface="Kefa"/>
                  <a:ea typeface="Roboto"/>
                  <a:cs typeface="Roboto"/>
                </a:rPr>
                <a:t> GmbH</a:t>
              </a: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Sierichstraße</a:t>
              </a: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 8</a:t>
              </a:r>
            </a:p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22301 Hamburg</a:t>
              </a:r>
            </a:p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Kefa"/>
                  <a:ea typeface="Roboto"/>
                  <a:cs typeface="Roboto"/>
                </a:rPr>
                <a:t>marketingtechlab.d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1559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CF8EE1-18C8-A0D8-3258-6A6264DB4D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DFEA6EA7-7974-B473-C979-005B99F80821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0" y="0"/>
            <a:ext cx="12210226" cy="6864138"/>
            <a:chOff x="0" y="0"/>
            <a:chExt cx="12210226" cy="686413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7D55F4B-F126-A918-2DE1-B82942409E4A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0" y="1385"/>
              <a:ext cx="12192000" cy="6856615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B1CFD9C7-95F0-033A-BB34-5D3C0CCE8FE1}"/>
                </a:ext>
              </a:extLst>
            </p:cNvPr>
            <p:cNvGrpSpPr>
              <a:grpSpLocks noGrp="1" noUngrp="1" noRot="1" noMove="1" noResize="1"/>
            </p:cNvGrpSpPr>
            <p:nvPr/>
          </p:nvGrpSpPr>
          <p:grpSpPr>
            <a:xfrm>
              <a:off x="10126092" y="5837452"/>
              <a:ext cx="2065908" cy="1020551"/>
              <a:chOff x="13640723" y="13852530"/>
              <a:chExt cx="2782957" cy="1374769"/>
            </a:xfrm>
          </p:grpSpPr>
          <p:sp>
            <p:nvSpPr>
              <p:cNvPr id="15" name="Eine Ecke des Rechtecks abrunden 14">
                <a:extLst>
                  <a:ext uri="{FF2B5EF4-FFF2-40B4-BE49-F238E27FC236}">
                    <a16:creationId xmlns:a16="http://schemas.microsoft.com/office/drawing/2014/main" id="{99A1021C-2138-3F4F-D962-B823D10880A6}"/>
                  </a:ext>
                </a:extLst>
              </p:cNvPr>
              <p:cNvSpPr>
                <a:spLocks noGrp="1" noRot="1" noMove="1" noResize="1" noEditPoints="1" noAdjustHandles="1" noChangeArrowheads="1" noChangeShapeType="1"/>
              </p:cNvSpPr>
              <p:nvPr/>
            </p:nvSpPr>
            <p:spPr>
              <a:xfrm flipH="1">
                <a:off x="13640723" y="13854395"/>
                <a:ext cx="2782957" cy="1372904"/>
              </a:xfrm>
              <a:prstGeom prst="round1Rect">
                <a:avLst/>
              </a:prstGeom>
              <a:solidFill>
                <a:srgbClr val="176D7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811"/>
              </a:p>
            </p:txBody>
          </p:sp>
          <p:pic>
            <p:nvPicPr>
              <p:cNvPr id="17" name="Grafik 16" descr="Ein Bild, das Schrift, Tex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037F039E-B31C-4CBF-C040-857316416A05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 noCrop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13981556" y="13852530"/>
                <a:ext cx="2276060" cy="1372904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413B0C3A-C488-7FB4-242F-685C82E43000}"/>
                </a:ext>
              </a:extLst>
            </p:cNvPr>
            <p:cNvPicPr>
              <a:picLocks noGrp="1" noRot="1" noChangeAspect="1" noMove="1" noResize="1" noEditPoints="1" noAdjustHandles="1" noChangeArrowheads="1" noChangeShapeType="1" noCrop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237607" y="0"/>
              <a:ext cx="1972619" cy="1110132"/>
            </a:xfrm>
            <a:prstGeom prst="rect">
              <a:avLst/>
            </a:prstGeom>
          </p:spPr>
        </p:pic>
        <p:sp>
          <p:nvSpPr>
            <p:cNvPr id="5" name="Eine Ecke des Rechtecks abrunden 4">
              <a:extLst>
                <a:ext uri="{FF2B5EF4-FFF2-40B4-BE49-F238E27FC236}">
                  <a16:creationId xmlns:a16="http://schemas.microsoft.com/office/drawing/2014/main" id="{10B60527-0F04-2672-CB00-A6EDCB8F089D}"/>
                </a:ext>
              </a:extLst>
            </p:cNvPr>
            <p:cNvSpPr>
              <a:spLocks/>
            </p:cNvSpPr>
            <p:nvPr/>
          </p:nvSpPr>
          <p:spPr>
            <a:xfrm>
              <a:off x="1" y="1549400"/>
              <a:ext cx="8597900" cy="5314738"/>
            </a:xfrm>
            <a:prstGeom prst="round1Rect">
              <a:avLst/>
            </a:prstGeom>
            <a:solidFill>
              <a:srgbClr val="DDEFF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sp>
          <p:nvSpPr>
            <p:cNvPr id="7" name="Textfeld 6">
              <a:extLst>
                <a:ext uri="{FF2B5EF4-FFF2-40B4-BE49-F238E27FC236}">
                  <a16:creationId xmlns:a16="http://schemas.microsoft.com/office/drawing/2014/main" id="{FCFB1CE6-1ABC-12E4-F0A3-3390299A422E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56662" y="2064769"/>
              <a:ext cx="5700713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3200" b="1" dirty="0">
                  <a:solidFill>
                    <a:srgbClr val="0C4E66"/>
                  </a:solidFill>
                  <a:latin typeface="Kefa" panose="02000506000000020004" pitchFamily="2" charset="77"/>
                </a:rPr>
                <a:t>Marketing Tech Award 2024</a:t>
              </a:r>
            </a:p>
          </p:txBody>
        </p:sp>
        <p:sp>
          <p:nvSpPr>
            <p:cNvPr id="8" name="Textfeld 7">
              <a:extLst>
                <a:ext uri="{FF2B5EF4-FFF2-40B4-BE49-F238E27FC236}">
                  <a16:creationId xmlns:a16="http://schemas.microsoft.com/office/drawing/2014/main" id="{D6E05459-3A6C-FF0E-0C27-9DF914F0D0D2}"/>
                </a:ext>
              </a:extLst>
            </p:cNvPr>
            <p:cNvSpPr txBox="1">
              <a:spLocks/>
            </p:cNvSpPr>
            <p:nvPr/>
          </p:nvSpPr>
          <p:spPr>
            <a:xfrm>
              <a:off x="656661" y="2921013"/>
              <a:ext cx="5700713" cy="3432863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Submission </a:t>
              </a:r>
              <a:r>
                <a:rPr lang="de-DE" sz="1400" dirty="0" err="1">
                  <a:solidFill>
                    <a:srgbClr val="0C4E66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Process</a:t>
              </a:r>
              <a:endParaRPr lang="de-DE" sz="1400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endParaRPr lang="de-DE" sz="1400" b="1" dirty="0">
                <a:solidFill>
                  <a:srgbClr val="0C4E6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endParaRPr>
            </a:p>
            <a:p>
              <a:pPr>
                <a:lnSpc>
                  <a:spcPct val="120000"/>
                </a:lnSpc>
              </a:pP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applicatio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has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or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Marketing Tech Award 2024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run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until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August 16th. After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ubmissio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deadlin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, a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application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evaluate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a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carefull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electe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jur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. The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evaluatio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criteria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of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award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jur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ca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oun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on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ollowing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lide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.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ase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on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evaluation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,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jur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elect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re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inalist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who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resent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ir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case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at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Marketing Tech Summit on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October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8th and 9th.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ollowing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resentation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,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fina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evaluatio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conducte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ummit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articipant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.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Subsequently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,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Marketing Tech Award 2024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b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resented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.</a:t>
              </a:r>
            </a:p>
            <a:p>
              <a:pPr>
                <a:lnSpc>
                  <a:spcPct val="120000"/>
                </a:lnSpc>
              </a:pPr>
              <a:endParaRPr lang="de-DE" sz="1400" dirty="0">
                <a:solidFill>
                  <a:srgbClr val="0C4E66"/>
                </a:solidFill>
                <a:latin typeface="Roboto"/>
                <a:ea typeface="Roboto"/>
                <a:cs typeface="Roboto"/>
              </a:endParaRPr>
            </a:p>
            <a:p>
              <a:pPr>
                <a:lnSpc>
                  <a:spcPct val="120000"/>
                </a:lnSpc>
              </a:pP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W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will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inform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finalists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of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their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</a:t>
              </a:r>
              <a:r>
                <a:rPr lang="de-DE" sz="1400" dirty="0" err="1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participation</a:t>
              </a:r>
              <a:r>
                <a:rPr lang="de-DE" sz="1400" dirty="0">
                  <a:solidFill>
                    <a:srgbClr val="0C4E66"/>
                  </a:solidFill>
                  <a:latin typeface="Roboto"/>
                  <a:ea typeface="Roboto"/>
                  <a:cs typeface="Roboto"/>
                </a:rPr>
                <a:t> in due time.</a:t>
              </a:r>
              <a:endParaRPr lang="de-DE" sz="1400" b="1" dirty="0">
                <a:solidFill>
                  <a:srgbClr val="0C4E66"/>
                </a:solidFill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8419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65233E-815C-40B7-8CB0-5E487E61A1B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7049150F-7B43-81AB-DC03-863B403B80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D4F00948-9D30-0ADF-A67C-0DBD8067779E}"/>
              </a:ext>
            </a:extLst>
          </p:cNvPr>
          <p:cNvGrpSpPr/>
          <p:nvPr/>
        </p:nvGrpSpPr>
        <p:grpSpPr>
          <a:xfrm>
            <a:off x="0" y="1385"/>
            <a:ext cx="12192000" cy="6856618"/>
            <a:chOff x="0" y="1385"/>
            <a:chExt cx="12192000" cy="685661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80EBA5BF-B200-7874-D525-C4CB2026B34D}"/>
                </a:ext>
              </a:extLst>
            </p:cNvPr>
            <p:cNvSpPr>
              <a:spLocks/>
            </p:cNvSpPr>
            <p:nvPr/>
          </p:nvSpPr>
          <p:spPr>
            <a:xfrm>
              <a:off x="0" y="1385"/>
              <a:ext cx="12192000" cy="6856615"/>
            </a:xfrm>
            <a:prstGeom prst="rect">
              <a:avLst/>
            </a:prstGeom>
            <a:gradFill>
              <a:gsLst>
                <a:gs pos="0">
                  <a:srgbClr val="F9B401">
                    <a:lumMod val="77718"/>
                    <a:lumOff val="22282"/>
                  </a:srgbClr>
                </a:gs>
                <a:gs pos="50000">
                  <a:srgbClr val="F9B401">
                    <a:lumMod val="27559"/>
                    <a:lumOff val="72441"/>
                    <a:alpha val="78065"/>
                  </a:srgbClr>
                </a:gs>
                <a:gs pos="100000">
                  <a:srgbClr val="C5E5E6">
                    <a:lumMod val="51156"/>
                    <a:lumOff val="48844"/>
                    <a:alpha val="85000"/>
                  </a:srgb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 dirty="0"/>
            </a:p>
          </p:txBody>
        </p:sp>
        <p:grpSp>
          <p:nvGrpSpPr>
            <p:cNvPr id="25" name="Gruppieren 24">
              <a:extLst>
                <a:ext uri="{FF2B5EF4-FFF2-40B4-BE49-F238E27FC236}">
                  <a16:creationId xmlns:a16="http://schemas.microsoft.com/office/drawing/2014/main" id="{5D2EE0D7-0A0E-F7E8-E80C-64AB905AABD3}"/>
                </a:ext>
              </a:extLst>
            </p:cNvPr>
            <p:cNvGrpSpPr>
              <a:grpSpLocks/>
            </p:cNvGrpSpPr>
            <p:nvPr/>
          </p:nvGrpSpPr>
          <p:grpSpPr>
            <a:xfrm>
              <a:off x="10126092" y="5837452"/>
              <a:ext cx="2065908" cy="1020551"/>
              <a:chOff x="13640723" y="13852530"/>
              <a:chExt cx="2782957" cy="1374769"/>
            </a:xfrm>
          </p:grpSpPr>
          <p:sp>
            <p:nvSpPr>
              <p:cNvPr id="15" name="Eine Ecke des Rechtecks abrunden 14">
                <a:extLst>
                  <a:ext uri="{FF2B5EF4-FFF2-40B4-BE49-F238E27FC236}">
                    <a16:creationId xmlns:a16="http://schemas.microsoft.com/office/drawing/2014/main" id="{7284742D-9050-E02F-1B1E-B1B3C5EE01D2}"/>
                  </a:ext>
                </a:extLst>
              </p:cNvPr>
              <p:cNvSpPr>
                <a:spLocks/>
              </p:cNvSpPr>
              <p:nvPr/>
            </p:nvSpPr>
            <p:spPr>
              <a:xfrm flipH="1">
                <a:off x="13640723" y="13854395"/>
                <a:ext cx="2782957" cy="1372904"/>
              </a:xfrm>
              <a:prstGeom prst="round1Rect">
                <a:avLst/>
              </a:prstGeom>
              <a:solidFill>
                <a:srgbClr val="176D7E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sz="811"/>
              </a:p>
            </p:txBody>
          </p:sp>
          <p:pic>
            <p:nvPicPr>
              <p:cNvPr id="17" name="Grafik 16" descr="Ein Bild, das Schrift, Text, Screenshot, Grafiken enthält.&#10;&#10;Automatisch generierte Beschreibung">
                <a:extLst>
                  <a:ext uri="{FF2B5EF4-FFF2-40B4-BE49-F238E27FC236}">
                    <a16:creationId xmlns:a16="http://schemas.microsoft.com/office/drawing/2014/main" id="{63337CFC-5A3A-03DE-AEB3-929B903C29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3981556" y="13852530"/>
                <a:ext cx="2276060" cy="1372904"/>
              </a:xfrm>
              <a:prstGeom prst="rect">
                <a:avLst/>
              </a:prstGeom>
              <a:ln>
                <a:noFill/>
              </a:ln>
            </p:spPr>
          </p:pic>
        </p:grpSp>
        <p:pic>
          <p:nvPicPr>
            <p:cNvPr id="1028" name="Picture 4">
              <a:extLst>
                <a:ext uri="{FF2B5EF4-FFF2-40B4-BE49-F238E27FC236}">
                  <a16:creationId xmlns:a16="http://schemas.microsoft.com/office/drawing/2014/main" id="{D9A92C43-C6A8-392B-71B8-EE67DFB3FA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01927" y="1485009"/>
              <a:ext cx="1269364" cy="39141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3D10A3C8-FF59-BDEE-3ED9-0345A4D296DE}"/>
                </a:ext>
              </a:extLst>
            </p:cNvPr>
            <p:cNvSpPr>
              <a:spLocks/>
            </p:cNvSpPr>
            <p:nvPr/>
          </p:nvSpPr>
          <p:spPr>
            <a:xfrm>
              <a:off x="1647878" y="2123067"/>
              <a:ext cx="956441" cy="956441"/>
            </a:xfrm>
            <a:prstGeom prst="ellipse">
              <a:avLst/>
            </a:prstGeom>
            <a:solidFill>
              <a:srgbClr val="2EB8C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pic>
          <p:nvPicPr>
            <p:cNvPr id="1030" name="Picture 6">
              <a:extLst>
                <a:ext uri="{FF2B5EF4-FFF2-40B4-BE49-F238E27FC236}">
                  <a16:creationId xmlns:a16="http://schemas.microsoft.com/office/drawing/2014/main" id="{162130F2-A70A-D3CF-5C1C-C8DA67BE9E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69837" y="1324662"/>
              <a:ext cx="1373368" cy="42347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2" name="Picture 8">
              <a:extLst>
                <a:ext uri="{FF2B5EF4-FFF2-40B4-BE49-F238E27FC236}">
                  <a16:creationId xmlns:a16="http://schemas.microsoft.com/office/drawing/2014/main" id="{D8B4A7F3-497F-781A-EA44-7FD7862506E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5500" y="1207887"/>
              <a:ext cx="1449111" cy="446834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4" name="Picture 10">
              <a:extLst>
                <a:ext uri="{FF2B5EF4-FFF2-40B4-BE49-F238E27FC236}">
                  <a16:creationId xmlns:a16="http://schemas.microsoft.com/office/drawing/2014/main" id="{9932815F-85D1-DAE0-F832-01EFD48CF1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8376" y="1210267"/>
              <a:ext cx="1448339" cy="44659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6" name="Picture 12">
              <a:extLst>
                <a:ext uri="{FF2B5EF4-FFF2-40B4-BE49-F238E27FC236}">
                  <a16:creationId xmlns:a16="http://schemas.microsoft.com/office/drawing/2014/main" id="{70E91164-69CE-934F-1CA2-8AE8611CB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23289" y="1197377"/>
              <a:ext cx="1455884" cy="44892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38" name="Picture 14">
              <a:extLst>
                <a:ext uri="{FF2B5EF4-FFF2-40B4-BE49-F238E27FC236}">
                  <a16:creationId xmlns:a16="http://schemas.microsoft.com/office/drawing/2014/main" id="{C1108885-77DE-4A6D-40B0-9983E0DB5B3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3667" y="1250816"/>
              <a:ext cx="1421223" cy="438235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Oval 11">
              <a:extLst>
                <a:ext uri="{FF2B5EF4-FFF2-40B4-BE49-F238E27FC236}">
                  <a16:creationId xmlns:a16="http://schemas.microsoft.com/office/drawing/2014/main" id="{26BF4D9A-3A4F-C623-7F7E-6001003D047D}"/>
                </a:ext>
              </a:extLst>
            </p:cNvPr>
            <p:cNvSpPr>
              <a:spLocks/>
            </p:cNvSpPr>
            <p:nvPr/>
          </p:nvSpPr>
          <p:spPr>
            <a:xfrm>
              <a:off x="2979714" y="4048952"/>
              <a:ext cx="956441" cy="956441"/>
            </a:xfrm>
            <a:prstGeom prst="ellipse">
              <a:avLst/>
            </a:prstGeom>
            <a:solidFill>
              <a:srgbClr val="C4C3C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0315B7A9-D1E8-6E3E-6A6B-C4B063855C67}"/>
                </a:ext>
              </a:extLst>
            </p:cNvPr>
            <p:cNvSpPr>
              <a:spLocks/>
            </p:cNvSpPr>
            <p:nvPr/>
          </p:nvSpPr>
          <p:spPr>
            <a:xfrm>
              <a:off x="4401293" y="1980875"/>
              <a:ext cx="956441" cy="956441"/>
            </a:xfrm>
            <a:prstGeom prst="ellipse">
              <a:avLst/>
            </a:prstGeom>
            <a:solidFill>
              <a:srgbClr val="868686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F5C69E34-7A92-0C2A-E603-7C7AA54AE7A1}"/>
                </a:ext>
              </a:extLst>
            </p:cNvPr>
            <p:cNvSpPr>
              <a:spLocks/>
            </p:cNvSpPr>
            <p:nvPr/>
          </p:nvSpPr>
          <p:spPr>
            <a:xfrm>
              <a:off x="5834162" y="4116804"/>
              <a:ext cx="956441" cy="956441"/>
            </a:xfrm>
            <a:prstGeom prst="ellipse">
              <a:avLst/>
            </a:prstGeom>
            <a:solidFill>
              <a:srgbClr val="037082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D4CE938F-9856-42A4-F741-7A4540FB48FC}"/>
                </a:ext>
              </a:extLst>
            </p:cNvPr>
            <p:cNvSpPr>
              <a:spLocks/>
            </p:cNvSpPr>
            <p:nvPr/>
          </p:nvSpPr>
          <p:spPr>
            <a:xfrm>
              <a:off x="7302254" y="1980875"/>
              <a:ext cx="956441" cy="956441"/>
            </a:xfrm>
            <a:prstGeom prst="ellipse">
              <a:avLst/>
            </a:prstGeom>
            <a:solidFill>
              <a:srgbClr val="224F68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F9C0B52-94A1-C01C-0156-F8AF18E93142}"/>
                </a:ext>
              </a:extLst>
            </p:cNvPr>
            <p:cNvSpPr>
              <a:spLocks/>
            </p:cNvSpPr>
            <p:nvPr/>
          </p:nvSpPr>
          <p:spPr>
            <a:xfrm>
              <a:off x="8648056" y="4001190"/>
              <a:ext cx="1072055" cy="1072055"/>
            </a:xfrm>
            <a:prstGeom prst="ellipse">
              <a:avLst/>
            </a:prstGeom>
            <a:solidFill>
              <a:srgbClr val="F8AE0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5A6E2163-9104-0A7A-09AB-861D86CC7344}"/>
                </a:ext>
              </a:extLst>
            </p:cNvPr>
            <p:cNvSpPr txBox="1">
              <a:spLocks/>
            </p:cNvSpPr>
            <p:nvPr/>
          </p:nvSpPr>
          <p:spPr>
            <a:xfrm>
              <a:off x="1733040" y="2324289"/>
              <a:ext cx="795082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bis 16.08.</a:t>
              </a:r>
              <a:endParaRPr lang="de-DE" sz="1000" b="1" dirty="0">
                <a:solidFill>
                  <a:schemeClr val="bg1"/>
                </a:solidFill>
                <a:latin typeface="Kefa" panose="02000506000000020004" pitchFamily="2" charset="77"/>
              </a:endParaRPr>
            </a:p>
          </p:txBody>
        </p:sp>
        <p:sp>
          <p:nvSpPr>
            <p:cNvPr id="22" name="Textfeld 21">
              <a:extLst>
                <a:ext uri="{FF2B5EF4-FFF2-40B4-BE49-F238E27FC236}">
                  <a16:creationId xmlns:a16="http://schemas.microsoft.com/office/drawing/2014/main" id="{15695D7D-005A-9BC0-E387-69C02F9CE286}"/>
                </a:ext>
              </a:extLst>
            </p:cNvPr>
            <p:cNvSpPr txBox="1">
              <a:spLocks/>
            </p:cNvSpPr>
            <p:nvPr/>
          </p:nvSpPr>
          <p:spPr>
            <a:xfrm>
              <a:off x="3060159" y="4404060"/>
              <a:ext cx="795082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16.08.</a:t>
              </a:r>
              <a:endParaRPr lang="de-DE" sz="1000" b="1" dirty="0">
                <a:solidFill>
                  <a:schemeClr val="bg1"/>
                </a:solidFill>
                <a:latin typeface="Kefa" panose="02000506000000020004" pitchFamily="2" charset="77"/>
              </a:endParaRPr>
            </a:p>
          </p:txBody>
        </p:sp>
        <p:sp>
          <p:nvSpPr>
            <p:cNvPr id="23" name="Textfeld 22">
              <a:extLst>
                <a:ext uri="{FF2B5EF4-FFF2-40B4-BE49-F238E27FC236}">
                  <a16:creationId xmlns:a16="http://schemas.microsoft.com/office/drawing/2014/main" id="{3FA7BE33-6C48-6FBE-AC79-0552BC3D37D6}"/>
                </a:ext>
              </a:extLst>
            </p:cNvPr>
            <p:cNvSpPr txBox="1">
              <a:spLocks/>
            </p:cNvSpPr>
            <p:nvPr/>
          </p:nvSpPr>
          <p:spPr>
            <a:xfrm>
              <a:off x="4490604" y="2313453"/>
              <a:ext cx="795082" cy="24622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 panose="02000506000000020004" pitchFamily="2" charset="77"/>
                  <a:ea typeface="Roboto" panose="02000000000000000000" pitchFamily="2" charset="0"/>
                  <a:cs typeface="Roboto" panose="02000000000000000000" pitchFamily="2" charset="0"/>
                </a:rPr>
                <a:t>23.09.</a:t>
              </a:r>
              <a:endParaRPr lang="de-DE" sz="1000" b="1" dirty="0">
                <a:solidFill>
                  <a:schemeClr val="bg1"/>
                </a:solidFill>
                <a:latin typeface="Kefa" panose="02000506000000020004" pitchFamily="2" charset="77"/>
              </a:endParaRPr>
            </a:p>
          </p:txBody>
        </p:sp>
        <p:sp>
          <p:nvSpPr>
            <p:cNvPr id="24" name="Textfeld 23">
              <a:extLst>
                <a:ext uri="{FF2B5EF4-FFF2-40B4-BE49-F238E27FC236}">
                  <a16:creationId xmlns:a16="http://schemas.microsoft.com/office/drawing/2014/main" id="{D5566619-7DCA-FCFD-A910-7D65CCFB9360}"/>
                </a:ext>
              </a:extLst>
            </p:cNvPr>
            <p:cNvSpPr txBox="1">
              <a:spLocks/>
            </p:cNvSpPr>
            <p:nvPr/>
          </p:nvSpPr>
          <p:spPr>
            <a:xfrm>
              <a:off x="5910546" y="4414106"/>
              <a:ext cx="795082" cy="24622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/>
                  <a:ea typeface="Roboto"/>
                  <a:cs typeface="Roboto"/>
                </a:rPr>
                <a:t>26.09.</a:t>
              </a: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9E516A30-D0A9-C27E-E356-C5C3FE4E3A2C}"/>
                </a:ext>
              </a:extLst>
            </p:cNvPr>
            <p:cNvSpPr txBox="1">
              <a:spLocks/>
            </p:cNvSpPr>
            <p:nvPr/>
          </p:nvSpPr>
          <p:spPr>
            <a:xfrm>
              <a:off x="7380188" y="2324289"/>
              <a:ext cx="795082" cy="24622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/>
                  <a:ea typeface="Roboto"/>
                  <a:cs typeface="Roboto"/>
                </a:rPr>
                <a:t>07.10.</a:t>
              </a:r>
            </a:p>
          </p:txBody>
        </p:sp>
        <p:sp>
          <p:nvSpPr>
            <p:cNvPr id="27" name="Textfeld 26">
              <a:extLst>
                <a:ext uri="{FF2B5EF4-FFF2-40B4-BE49-F238E27FC236}">
                  <a16:creationId xmlns:a16="http://schemas.microsoft.com/office/drawing/2014/main" id="{44072A4F-82DF-5C9C-7EC3-98D867BA10DD}"/>
                </a:ext>
              </a:extLst>
            </p:cNvPr>
            <p:cNvSpPr txBox="1">
              <a:spLocks/>
            </p:cNvSpPr>
            <p:nvPr/>
          </p:nvSpPr>
          <p:spPr>
            <a:xfrm>
              <a:off x="8789657" y="4404061"/>
              <a:ext cx="795082" cy="246221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de-DE" sz="1000" b="1" dirty="0">
                  <a:solidFill>
                    <a:schemeClr val="bg1"/>
                  </a:solidFill>
                  <a:latin typeface="Kefa"/>
                  <a:ea typeface="Roboto"/>
                  <a:cs typeface="Roboto"/>
                </a:rPr>
                <a:t>08.10.</a:t>
              </a:r>
            </a:p>
          </p:txBody>
        </p:sp>
        <p:sp>
          <p:nvSpPr>
            <p:cNvPr id="28" name="Rechteck 27">
              <a:extLst>
                <a:ext uri="{FF2B5EF4-FFF2-40B4-BE49-F238E27FC236}">
                  <a16:creationId xmlns:a16="http://schemas.microsoft.com/office/drawing/2014/main" id="{8944B682-77DB-03A0-114A-4BA1EF3AC747}"/>
                </a:ext>
              </a:extLst>
            </p:cNvPr>
            <p:cNvSpPr>
              <a:spLocks/>
            </p:cNvSpPr>
            <p:nvPr/>
          </p:nvSpPr>
          <p:spPr>
            <a:xfrm>
              <a:off x="5693002" y="2459095"/>
              <a:ext cx="809296" cy="367862"/>
            </a:xfrm>
            <a:prstGeom prst="rect">
              <a:avLst/>
            </a:prstGeom>
            <a:solidFill>
              <a:srgbClr val="FEF1CB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b="1" dirty="0">
                <a:solidFill>
                  <a:srgbClr val="037082"/>
                </a:solidFill>
                <a:latin typeface="Kefa" panose="02000506000000020004" pitchFamily="2" charset="77"/>
              </a:endParaRPr>
            </a:p>
          </p:txBody>
        </p:sp>
        <p:pic>
          <p:nvPicPr>
            <p:cNvPr id="30" name="Grafik 29" descr="Ein Bild, das Screenshot, Rechteck, Design enthält.&#10;&#10;Automatisch generierte Beschreibung">
              <a:extLst>
                <a:ext uri="{FF2B5EF4-FFF2-40B4-BE49-F238E27FC236}">
                  <a16:creationId xmlns:a16="http://schemas.microsoft.com/office/drawing/2014/main" id="{1E920A56-1E18-4A60-6E6F-99527B6AA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694075" y="2467295"/>
              <a:ext cx="634226" cy="267983"/>
            </a:xfrm>
            <a:prstGeom prst="rect">
              <a:avLst/>
            </a:prstGeom>
          </p:spPr>
        </p:pic>
        <p:sp>
          <p:nvSpPr>
            <p:cNvPr id="4" name="Rechteck 3">
              <a:extLst>
                <a:ext uri="{FF2B5EF4-FFF2-40B4-BE49-F238E27FC236}">
                  <a16:creationId xmlns:a16="http://schemas.microsoft.com/office/drawing/2014/main" id="{B9FA1512-5271-B90A-E76E-303F53AF9E6A}"/>
                </a:ext>
              </a:extLst>
            </p:cNvPr>
            <p:cNvSpPr/>
            <p:nvPr/>
          </p:nvSpPr>
          <p:spPr>
            <a:xfrm>
              <a:off x="7158789" y="4140868"/>
              <a:ext cx="1092868" cy="601578"/>
            </a:xfrm>
            <a:prstGeom prst="rect">
              <a:avLst/>
            </a:prstGeom>
            <a:solidFill>
              <a:srgbClr val="F8F0D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endParaRPr lang="de-DE" sz="1000" b="1" dirty="0">
                <a:solidFill>
                  <a:srgbClr val="224F68"/>
                </a:solidFill>
                <a:latin typeface="Roboto"/>
                <a:ea typeface="Roboto"/>
                <a:cs typeface="Roboto"/>
              </a:endParaRPr>
            </a:p>
          </p:txBody>
        </p:sp>
        <p:sp>
          <p:nvSpPr>
            <p:cNvPr id="5" name="Textfeld 4">
              <a:extLst>
                <a:ext uri="{FF2B5EF4-FFF2-40B4-BE49-F238E27FC236}">
                  <a16:creationId xmlns:a16="http://schemas.microsoft.com/office/drawing/2014/main" id="{498A7D80-21FC-AD67-A6DD-123B9EEBA7E9}"/>
                </a:ext>
              </a:extLst>
            </p:cNvPr>
            <p:cNvSpPr txBox="1"/>
            <p:nvPr/>
          </p:nvSpPr>
          <p:spPr>
            <a:xfrm>
              <a:off x="7098632" y="4050632"/>
              <a:ext cx="1122947" cy="246221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l"/>
              <a:r>
                <a:rPr lang="de-DE" sz="1000" b="1" dirty="0">
                  <a:solidFill>
                    <a:srgbClr val="224F68"/>
                  </a:solidFill>
                  <a:latin typeface="Roboto Medium"/>
                  <a:ea typeface="+mn-lt"/>
                  <a:cs typeface="+mn-lt"/>
                </a:rPr>
                <a:t>Jury-Auswahl</a:t>
              </a:r>
              <a:endParaRPr lang="de-DE" sz="1000" b="1" dirty="0">
                <a:solidFill>
                  <a:srgbClr val="224F68"/>
                </a:solidFill>
                <a:latin typeface="Roboto Medium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67739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8AA934FC-02A9-63B9-32BA-139CE3B8F9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C289DE79-C81E-2C7C-DE10-4A9B3415EA37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0576E7D2-8EB3-6E69-31A3-CD8FE0C50F00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9A646A65-17F2-8AF6-9DAF-A8CFD1F0DBF2}"/>
              </a:ext>
            </a:extLst>
          </p:cNvPr>
          <p:cNvSpPr txBox="1">
            <a:spLocks/>
          </p:cNvSpPr>
          <p:nvPr/>
        </p:nvSpPr>
        <p:spPr>
          <a:xfrm>
            <a:off x="255094" y="251067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>
                <a:latin typeface="Kefa" panose="02000506000000020004" pitchFamily="2" charset="77"/>
              </a:rPr>
              <a:t>Bewertungskriterien </a:t>
            </a:r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D1364B3B-6FAC-E9D8-EDDA-26D668EDDBAF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E76A55D7-FF70-CAC2-F9E9-A2D5664582AF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56B75B4A-AB71-CC50-9F1B-B2D3644B4B0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768A553B-0A72-A4DE-87F5-39E0583B6FF1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C1F420AF-07FF-9BBC-0582-E97C63123FD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2" name="Eine Ecke des Rechtecks abrunden 1">
            <a:extLst>
              <a:ext uri="{FF2B5EF4-FFF2-40B4-BE49-F238E27FC236}">
                <a16:creationId xmlns:a16="http://schemas.microsoft.com/office/drawing/2014/main" id="{4148C5A0-C6FA-D829-AF6D-5172D602E032}"/>
              </a:ext>
            </a:extLst>
          </p:cNvPr>
          <p:cNvSpPr/>
          <p:nvPr/>
        </p:nvSpPr>
        <p:spPr>
          <a:xfrm>
            <a:off x="0" y="1595074"/>
            <a:ext cx="8597900" cy="5314738"/>
          </a:xfrm>
          <a:prstGeom prst="round1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B86F3D0-6686-5986-AEBA-8CD983226CE8}"/>
              </a:ext>
            </a:extLst>
          </p:cNvPr>
          <p:cNvSpPr txBox="1"/>
          <p:nvPr/>
        </p:nvSpPr>
        <p:spPr>
          <a:xfrm>
            <a:off x="201438" y="1897952"/>
            <a:ext cx="8649477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The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jury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will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evaluate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Marketing Tech Stack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based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on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these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400" b="1" dirty="0" err="1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criteria</a:t>
            </a:r>
            <a: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  <a:br>
              <a:rPr lang="de-DE" sz="1400" b="1" dirty="0">
                <a:latin typeface="Kefa" panose="02000506000000020004" pitchFamily="2" charset="77"/>
                <a:ea typeface="Roboto" panose="02000000000000000000" pitchFamily="2" charset="0"/>
                <a:cs typeface="Roboto" panose="02000000000000000000" pitchFamily="2" charset="0"/>
              </a:rPr>
            </a:br>
            <a:endParaRPr lang="de-DE" sz="1000" dirty="0"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Completenes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ictur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ChatGPT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Data Management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Data Analytics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CRM/CDP (Customer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Relationship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Management / Customer Data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latform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Marketing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lanning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Resourc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Management (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peration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&amp; Finance)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Components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Shop Web/App Components (E-Commerce)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Orchestration (Content, Bots,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roduct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Data, Marketing Automation)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Campaign and Channel Management (e.g., Display, SEA,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Affiliat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Social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, SEO, etc.)</a:t>
            </a:r>
            <a:b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</a:b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raceability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&amp; Clarity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Image and Description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Mention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KP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USP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Highlight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entir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stack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individual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elements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Individuality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echnology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component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(in-house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development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collaboration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startup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Integration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at a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data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Integration and Automation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at a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rocess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and Segmentation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Maturity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level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stack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Presentation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 Ca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000" dirty="0">
                <a:ea typeface="Roboto" panose="02000000000000000000" pitchFamily="2" charset="0"/>
                <a:cs typeface="Roboto" panose="02000000000000000000" pitchFamily="2" charset="0"/>
              </a:rPr>
              <a:t>Future </a:t>
            </a:r>
            <a:r>
              <a:rPr lang="de-DE" sz="1000" dirty="0" err="1">
                <a:ea typeface="Roboto" panose="02000000000000000000" pitchFamily="2" charset="0"/>
                <a:cs typeface="Roboto" panose="02000000000000000000" pitchFamily="2" charset="0"/>
              </a:rPr>
              <a:t>topics</a:t>
            </a:r>
            <a:endParaRPr lang="de-DE" sz="1000" dirty="0"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65291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EBE0D3E-F26E-EC40-9226-BA1F5DB1BDD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hteck 30">
            <a:extLst>
              <a:ext uri="{FF2B5EF4-FFF2-40B4-BE49-F238E27FC236}">
                <a16:creationId xmlns:a16="http://schemas.microsoft.com/office/drawing/2014/main" id="{F0F10C91-11E3-BE17-8725-0DCC66F701FA}"/>
              </a:ext>
            </a:extLst>
          </p:cNvPr>
          <p:cNvSpPr/>
          <p:nvPr/>
        </p:nvSpPr>
        <p:spPr>
          <a:xfrm>
            <a:off x="9417299" y="223935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D79FAEF3-CFDD-BF6C-C8F7-7A97AE534CAF}"/>
              </a:ext>
            </a:extLst>
          </p:cNvPr>
          <p:cNvSpPr>
            <a:spLocks/>
          </p:cNvSpPr>
          <p:nvPr/>
        </p:nvSpPr>
        <p:spPr>
          <a:xfrm>
            <a:off x="0" y="-9294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sp>
        <p:nvSpPr>
          <p:cNvPr id="32" name="Abgerundetes Rechteck 31">
            <a:extLst>
              <a:ext uri="{FF2B5EF4-FFF2-40B4-BE49-F238E27FC236}">
                <a16:creationId xmlns:a16="http://schemas.microsoft.com/office/drawing/2014/main" id="{4059E900-9ED6-8F9C-94F8-D3256EC75EB7}"/>
              </a:ext>
            </a:extLst>
          </p:cNvPr>
          <p:cNvSpPr/>
          <p:nvPr/>
        </p:nvSpPr>
        <p:spPr>
          <a:xfrm>
            <a:off x="905299" y="3077133"/>
            <a:ext cx="9769151" cy="2399612"/>
          </a:xfrm>
          <a:prstGeom prst="round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BFE5E8E5-3CAE-4420-0A9A-81D89E0EF7E7}"/>
              </a:ext>
            </a:extLst>
          </p:cNvPr>
          <p:cNvSpPr/>
          <p:nvPr/>
        </p:nvSpPr>
        <p:spPr>
          <a:xfrm>
            <a:off x="8395753" y="1653375"/>
            <a:ext cx="1081382" cy="1022357"/>
          </a:xfrm>
          <a:prstGeom prst="ellipse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5924B1D9-F006-235D-431A-EDDBCB8FABC9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969E9B2F-391A-8DE3-7AD3-4E5DCF6E4FE8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B182FC43-40D5-3159-8C0B-E8E82D6F24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6" name="Oval 35">
            <a:extLst>
              <a:ext uri="{FF2B5EF4-FFF2-40B4-BE49-F238E27FC236}">
                <a16:creationId xmlns:a16="http://schemas.microsoft.com/office/drawing/2014/main" id="{DD485967-3824-AE33-D7D7-21BD2C1D08AF}"/>
              </a:ext>
            </a:extLst>
          </p:cNvPr>
          <p:cNvSpPr/>
          <p:nvPr/>
        </p:nvSpPr>
        <p:spPr>
          <a:xfrm>
            <a:off x="6690823" y="1659188"/>
            <a:ext cx="1081382" cy="1022357"/>
          </a:xfrm>
          <a:prstGeom prst="ellipse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997EE96C-424F-C49D-28F0-19C1052D295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2" name="Donut 48">
            <a:extLst>
              <a:ext uri="{FF2B5EF4-FFF2-40B4-BE49-F238E27FC236}">
                <a16:creationId xmlns:a16="http://schemas.microsoft.com/office/drawing/2014/main" id="{D741B243-89F7-B701-2BD6-0808C0828247}"/>
              </a:ext>
            </a:extLst>
          </p:cNvPr>
          <p:cNvSpPr/>
          <p:nvPr/>
        </p:nvSpPr>
        <p:spPr>
          <a:xfrm>
            <a:off x="8239824" y="1452785"/>
            <a:ext cx="1972901" cy="1397010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7071" y="559863"/>
                </a:moveTo>
                <a:lnTo>
                  <a:pt x="63532" y="629998"/>
                </a:lnTo>
                <a:lnTo>
                  <a:pt x="7070" y="700134"/>
                </a:lnTo>
                <a:cubicBezTo>
                  <a:pt x="1323" y="677346"/>
                  <a:pt x="0" y="653828"/>
                  <a:pt x="0" y="630000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3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4" y="723226"/>
                </a:lnTo>
                <a:lnTo>
                  <a:pt x="1250602" y="723226"/>
                </a:lnTo>
                <a:cubicBezTo>
                  <a:pt x="1207884" y="1027148"/>
                  <a:pt x="946135" y="1260000"/>
                  <a:pt x="630000" y="1260000"/>
                </a:cubicBezTo>
                <a:cubicBezTo>
                  <a:pt x="398160" y="1260000"/>
                  <a:pt x="195568" y="1134768"/>
                  <a:pt x="88434" y="946939"/>
                </a:cubicBezTo>
                <a:lnTo>
                  <a:pt x="224629" y="777761"/>
                </a:lnTo>
                <a:cubicBezTo>
                  <a:pt x="283669" y="944377"/>
                  <a:pt x="442988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ubicBezTo>
                  <a:pt x="442989" y="197051"/>
                  <a:pt x="283671" y="315621"/>
                  <a:pt x="224630" y="482236"/>
                </a:cubicBezTo>
                <a:lnTo>
                  <a:pt x="88436" y="313058"/>
                </a:lnTo>
                <a:cubicBezTo>
                  <a:pt x="195571" y="125231"/>
                  <a:pt x="398161" y="0"/>
                  <a:pt x="630000" y="0"/>
                </a:cubicBezTo>
                <a:close/>
              </a:path>
            </a:pathLst>
          </a:custGeom>
          <a:solidFill>
            <a:srgbClr val="0E4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altLang="ko-KR" sz="1013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5694A1D0-09CC-77AD-B45B-586CAD6747C8}"/>
              </a:ext>
            </a:extLst>
          </p:cNvPr>
          <p:cNvSpPr/>
          <p:nvPr/>
        </p:nvSpPr>
        <p:spPr>
          <a:xfrm>
            <a:off x="4989535" y="1642865"/>
            <a:ext cx="1081382" cy="1022357"/>
          </a:xfrm>
          <a:prstGeom prst="ellipse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Donut 44">
            <a:extLst>
              <a:ext uri="{FF2B5EF4-FFF2-40B4-BE49-F238E27FC236}">
                <a16:creationId xmlns:a16="http://schemas.microsoft.com/office/drawing/2014/main" id="{918A601D-CA8B-0665-0271-16341863120D}"/>
              </a:ext>
            </a:extLst>
          </p:cNvPr>
          <p:cNvSpPr/>
          <p:nvPr/>
        </p:nvSpPr>
        <p:spPr>
          <a:xfrm>
            <a:off x="6548282" y="1467487"/>
            <a:ext cx="1972901" cy="1397010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7070" y="559864"/>
                </a:moveTo>
                <a:lnTo>
                  <a:pt x="63532" y="629999"/>
                </a:lnTo>
                <a:lnTo>
                  <a:pt x="7070" y="700135"/>
                </a:lnTo>
                <a:cubicBezTo>
                  <a:pt x="1323" y="677347"/>
                  <a:pt x="0" y="653828"/>
                  <a:pt x="0" y="630000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3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4" y="723226"/>
                </a:lnTo>
                <a:lnTo>
                  <a:pt x="1250602" y="723226"/>
                </a:lnTo>
                <a:cubicBezTo>
                  <a:pt x="1207884" y="1027148"/>
                  <a:pt x="946135" y="1260000"/>
                  <a:pt x="630000" y="1260000"/>
                </a:cubicBezTo>
                <a:cubicBezTo>
                  <a:pt x="398160" y="1260000"/>
                  <a:pt x="195569" y="1134769"/>
                  <a:pt x="88434" y="946940"/>
                </a:cubicBezTo>
                <a:lnTo>
                  <a:pt x="224630" y="777762"/>
                </a:lnTo>
                <a:cubicBezTo>
                  <a:pt x="283669" y="944378"/>
                  <a:pt x="442988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ubicBezTo>
                  <a:pt x="442989" y="197051"/>
                  <a:pt x="283670" y="315622"/>
                  <a:pt x="224630" y="482237"/>
                </a:cubicBezTo>
                <a:lnTo>
                  <a:pt x="88435" y="313059"/>
                </a:lnTo>
                <a:cubicBezTo>
                  <a:pt x="195570" y="125231"/>
                  <a:pt x="398161" y="0"/>
                  <a:pt x="630000" y="0"/>
                </a:cubicBezTo>
                <a:close/>
              </a:path>
            </a:pathLst>
          </a:custGeom>
          <a:solidFill>
            <a:srgbClr val="0E4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altLang="ko-KR" sz="1013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4" name="Donut 44">
            <a:extLst>
              <a:ext uri="{FF2B5EF4-FFF2-40B4-BE49-F238E27FC236}">
                <a16:creationId xmlns:a16="http://schemas.microsoft.com/office/drawing/2014/main" id="{CA1C6318-5B97-A5C3-AD87-04A4091EFBBF}"/>
              </a:ext>
            </a:extLst>
          </p:cNvPr>
          <p:cNvSpPr/>
          <p:nvPr/>
        </p:nvSpPr>
        <p:spPr>
          <a:xfrm>
            <a:off x="4841699" y="1452785"/>
            <a:ext cx="1972901" cy="1397010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7070" y="559864"/>
                </a:moveTo>
                <a:lnTo>
                  <a:pt x="63532" y="629999"/>
                </a:lnTo>
                <a:lnTo>
                  <a:pt x="7070" y="700135"/>
                </a:lnTo>
                <a:cubicBezTo>
                  <a:pt x="1323" y="677347"/>
                  <a:pt x="0" y="653828"/>
                  <a:pt x="0" y="630000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3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4" y="723226"/>
                </a:lnTo>
                <a:lnTo>
                  <a:pt x="1250602" y="723226"/>
                </a:lnTo>
                <a:cubicBezTo>
                  <a:pt x="1207884" y="1027148"/>
                  <a:pt x="946135" y="1260000"/>
                  <a:pt x="630000" y="1260000"/>
                </a:cubicBezTo>
                <a:cubicBezTo>
                  <a:pt x="398160" y="1260000"/>
                  <a:pt x="195569" y="1134769"/>
                  <a:pt x="88434" y="946940"/>
                </a:cubicBezTo>
                <a:lnTo>
                  <a:pt x="224630" y="777762"/>
                </a:lnTo>
                <a:cubicBezTo>
                  <a:pt x="283669" y="944378"/>
                  <a:pt x="442988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ubicBezTo>
                  <a:pt x="442989" y="197051"/>
                  <a:pt x="283670" y="315622"/>
                  <a:pt x="224630" y="482237"/>
                </a:cubicBezTo>
                <a:lnTo>
                  <a:pt x="88435" y="313059"/>
                </a:lnTo>
                <a:cubicBezTo>
                  <a:pt x="195570" y="125231"/>
                  <a:pt x="398161" y="0"/>
                  <a:pt x="630000" y="0"/>
                </a:cubicBezTo>
                <a:close/>
              </a:path>
            </a:pathLst>
          </a:custGeom>
          <a:solidFill>
            <a:srgbClr val="0E4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altLang="ko-KR" sz="1013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3D6F4E4-05B3-287F-71A7-197116B532BB}"/>
              </a:ext>
            </a:extLst>
          </p:cNvPr>
          <p:cNvSpPr/>
          <p:nvPr/>
        </p:nvSpPr>
        <p:spPr>
          <a:xfrm>
            <a:off x="3278541" y="1642865"/>
            <a:ext cx="1081382" cy="1022357"/>
          </a:xfrm>
          <a:prstGeom prst="ellipse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Donut 40">
            <a:extLst>
              <a:ext uri="{FF2B5EF4-FFF2-40B4-BE49-F238E27FC236}">
                <a16:creationId xmlns:a16="http://schemas.microsoft.com/office/drawing/2014/main" id="{AF4C4409-9B3D-337B-CCF3-863B1D51D43C}"/>
              </a:ext>
            </a:extLst>
          </p:cNvPr>
          <p:cNvSpPr/>
          <p:nvPr/>
        </p:nvSpPr>
        <p:spPr>
          <a:xfrm>
            <a:off x="3135319" y="1442799"/>
            <a:ext cx="1972901" cy="1397010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7070" y="559865"/>
                </a:moveTo>
                <a:lnTo>
                  <a:pt x="63532" y="630000"/>
                </a:lnTo>
                <a:lnTo>
                  <a:pt x="7070" y="700135"/>
                </a:lnTo>
                <a:cubicBezTo>
                  <a:pt x="1323" y="677348"/>
                  <a:pt x="0" y="653828"/>
                  <a:pt x="0" y="630000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3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5" y="1260000"/>
                  <a:pt x="630000" y="1260000"/>
                </a:cubicBezTo>
                <a:cubicBezTo>
                  <a:pt x="398160" y="1260000"/>
                  <a:pt x="195569" y="1134769"/>
                  <a:pt x="88435" y="946940"/>
                </a:cubicBezTo>
                <a:lnTo>
                  <a:pt x="224630" y="777762"/>
                </a:lnTo>
                <a:cubicBezTo>
                  <a:pt x="283670" y="944378"/>
                  <a:pt x="442988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ubicBezTo>
                  <a:pt x="442988" y="197051"/>
                  <a:pt x="283670" y="315622"/>
                  <a:pt x="224630" y="482238"/>
                </a:cubicBezTo>
                <a:lnTo>
                  <a:pt x="88435" y="313060"/>
                </a:lnTo>
                <a:cubicBezTo>
                  <a:pt x="195570" y="125231"/>
                  <a:pt x="398160" y="0"/>
                  <a:pt x="630000" y="0"/>
                </a:cubicBezTo>
                <a:close/>
              </a:path>
            </a:pathLst>
          </a:custGeom>
          <a:solidFill>
            <a:srgbClr val="0E4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altLang="ko-KR" sz="1013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A3826162-F889-7512-CB88-F6CD813F0CDF}"/>
              </a:ext>
            </a:extLst>
          </p:cNvPr>
          <p:cNvSpPr/>
          <p:nvPr/>
        </p:nvSpPr>
        <p:spPr>
          <a:xfrm>
            <a:off x="1634400" y="1620139"/>
            <a:ext cx="951000" cy="1022357"/>
          </a:xfrm>
          <a:prstGeom prst="ellipse">
            <a:avLst/>
          </a:prstGeom>
          <a:solidFill>
            <a:srgbClr val="DDEFF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1" name="Donut 27">
            <a:extLst>
              <a:ext uri="{FF2B5EF4-FFF2-40B4-BE49-F238E27FC236}">
                <a16:creationId xmlns:a16="http://schemas.microsoft.com/office/drawing/2014/main" id="{2B40042B-E207-3566-A9CC-01637D368564}"/>
              </a:ext>
            </a:extLst>
          </p:cNvPr>
          <p:cNvSpPr/>
          <p:nvPr/>
        </p:nvSpPr>
        <p:spPr>
          <a:xfrm>
            <a:off x="1436177" y="1432813"/>
            <a:ext cx="1972901" cy="1397010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rgbClr val="0E4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altLang="ko-KR" sz="1013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12" name="TextBox 75">
            <a:extLst>
              <a:ext uri="{FF2B5EF4-FFF2-40B4-BE49-F238E27FC236}">
                <a16:creationId xmlns:a16="http://schemas.microsoft.com/office/drawing/2014/main" id="{AB25095E-E744-2508-5F10-5C4C4B3C5496}"/>
              </a:ext>
            </a:extLst>
          </p:cNvPr>
          <p:cNvSpPr txBox="1"/>
          <p:nvPr/>
        </p:nvSpPr>
        <p:spPr>
          <a:xfrm>
            <a:off x="1591435" y="1856762"/>
            <a:ext cx="1048406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Your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Marketing </a:t>
            </a:r>
          </a:p>
          <a:p>
            <a:pPr algn="ctr"/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Tech Stack </a:t>
            </a:r>
          </a:p>
          <a:p>
            <a:pPr algn="ctr"/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Image </a:t>
            </a:r>
          </a:p>
        </p:txBody>
      </p:sp>
      <p:sp>
        <p:nvSpPr>
          <p:cNvPr id="13" name="TextBox 75">
            <a:extLst>
              <a:ext uri="{FF2B5EF4-FFF2-40B4-BE49-F238E27FC236}">
                <a16:creationId xmlns:a16="http://schemas.microsoft.com/office/drawing/2014/main" id="{B3D2E3D8-7482-6189-DE41-E26B4C4BB2AC}"/>
              </a:ext>
            </a:extLst>
          </p:cNvPr>
          <p:cNvSpPr txBox="1"/>
          <p:nvPr/>
        </p:nvSpPr>
        <p:spPr>
          <a:xfrm>
            <a:off x="3383444" y="1779818"/>
            <a:ext cx="880315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Your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Marketing Tech Stack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description</a:t>
            </a:r>
            <a:endParaRPr lang="de-DE" sz="1000" spc="-56" dirty="0">
              <a:solidFill>
                <a:srgbClr val="0E4D65"/>
              </a:solidFill>
              <a:latin typeface="+mj-lt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75">
            <a:extLst>
              <a:ext uri="{FF2B5EF4-FFF2-40B4-BE49-F238E27FC236}">
                <a16:creationId xmlns:a16="http://schemas.microsoft.com/office/drawing/2014/main" id="{857AB79D-D2AD-2334-22E6-485C5C3FC235}"/>
              </a:ext>
            </a:extLst>
          </p:cNvPr>
          <p:cNvSpPr txBox="1"/>
          <p:nvPr/>
        </p:nvSpPr>
        <p:spPr>
          <a:xfrm>
            <a:off x="5126785" y="1856762"/>
            <a:ext cx="807781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Your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highlight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of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the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stack</a:t>
            </a:r>
            <a:endParaRPr lang="de-DE" sz="1000" spc="-56" dirty="0">
              <a:solidFill>
                <a:srgbClr val="0E4D65"/>
              </a:solidFill>
              <a:latin typeface="+mj-lt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75">
            <a:extLst>
              <a:ext uri="{FF2B5EF4-FFF2-40B4-BE49-F238E27FC236}">
                <a16:creationId xmlns:a16="http://schemas.microsoft.com/office/drawing/2014/main" id="{635BE1CB-A41F-63B1-8B0E-30D3B10168BC}"/>
              </a:ext>
            </a:extLst>
          </p:cNvPr>
          <p:cNvSpPr txBox="1"/>
          <p:nvPr/>
        </p:nvSpPr>
        <p:spPr>
          <a:xfrm>
            <a:off x="8435073" y="1917540"/>
            <a:ext cx="1002741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Developments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in 2025/2026</a:t>
            </a:r>
          </a:p>
        </p:txBody>
      </p:sp>
      <p:sp>
        <p:nvSpPr>
          <p:cNvPr id="18" name="TextBox 60">
            <a:extLst>
              <a:ext uri="{FF2B5EF4-FFF2-40B4-BE49-F238E27FC236}">
                <a16:creationId xmlns:a16="http://schemas.microsoft.com/office/drawing/2014/main" id="{631ABB1E-1ED5-3341-CF9E-BB2089F030D7}"/>
              </a:ext>
            </a:extLst>
          </p:cNvPr>
          <p:cNvSpPr txBox="1"/>
          <p:nvPr/>
        </p:nvSpPr>
        <p:spPr>
          <a:xfrm>
            <a:off x="1581639" y="3624596"/>
            <a:ext cx="1444170" cy="10643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48"/>
              </a:lnSpc>
            </a:pP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upload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n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mag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Marketing Tech Stack (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nspiration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can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b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found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t</a:t>
            </a:r>
            <a:b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</a:b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marketing-tech-award.d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) </a:t>
            </a:r>
          </a:p>
        </p:txBody>
      </p:sp>
      <p:sp>
        <p:nvSpPr>
          <p:cNvPr id="19" name="TextBox 60">
            <a:extLst>
              <a:ext uri="{FF2B5EF4-FFF2-40B4-BE49-F238E27FC236}">
                <a16:creationId xmlns:a16="http://schemas.microsoft.com/office/drawing/2014/main" id="{CF467F62-362B-5F32-54C6-20835564571B}"/>
              </a:ext>
            </a:extLst>
          </p:cNvPr>
          <p:cNvSpPr txBox="1"/>
          <p:nvPr/>
        </p:nvSpPr>
        <p:spPr>
          <a:xfrm>
            <a:off x="3269099" y="3624596"/>
            <a:ext cx="1444170" cy="8848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48"/>
              </a:lnSpc>
            </a:pP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on 3-5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age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make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up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Marketing Tech Stack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chos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es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element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.</a:t>
            </a:r>
          </a:p>
        </p:txBody>
      </p:sp>
      <p:sp>
        <p:nvSpPr>
          <p:cNvPr id="20" name="TextBox 60">
            <a:extLst>
              <a:ext uri="{FF2B5EF4-FFF2-40B4-BE49-F238E27FC236}">
                <a16:creationId xmlns:a16="http://schemas.microsoft.com/office/drawing/2014/main" id="{C168FA83-10AF-806F-8B3B-71B60F3DC44C}"/>
              </a:ext>
            </a:extLst>
          </p:cNvPr>
          <p:cNvSpPr txBox="1"/>
          <p:nvPr/>
        </p:nvSpPr>
        <p:spPr>
          <a:xfrm>
            <a:off x="4956559" y="3624596"/>
            <a:ext cx="1444170" cy="10643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48"/>
              </a:lnSpc>
            </a:pP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personal highlight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ech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stack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articularl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roud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bes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ractic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?</a:t>
            </a:r>
          </a:p>
        </p:txBody>
      </p:sp>
      <p:sp>
        <p:nvSpPr>
          <p:cNvPr id="21" name="TextBox 60">
            <a:extLst>
              <a:ext uri="{FF2B5EF4-FFF2-40B4-BE49-F238E27FC236}">
                <a16:creationId xmlns:a16="http://schemas.microsoft.com/office/drawing/2014/main" id="{A4C5FB8D-05A6-CF0B-0E86-F72408254124}"/>
              </a:ext>
            </a:extLst>
          </p:cNvPr>
          <p:cNvSpPr txBox="1"/>
          <p:nvPr/>
        </p:nvSpPr>
        <p:spPr>
          <a:xfrm>
            <a:off x="8521183" y="3624596"/>
            <a:ext cx="1444170" cy="8848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48"/>
              </a:lnSpc>
            </a:pP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Are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lanning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an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change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stack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2025/2026?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f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so,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e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goal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?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A6E7741C-85A5-D0C6-C927-93147F4EA5E9}"/>
              </a:ext>
            </a:extLst>
          </p:cNvPr>
          <p:cNvSpPr txBox="1"/>
          <p:nvPr/>
        </p:nvSpPr>
        <p:spPr>
          <a:xfrm>
            <a:off x="1856438" y="1440085"/>
            <a:ext cx="518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>
                <a:solidFill>
                  <a:srgbClr val="DDEFF2"/>
                </a:solidFill>
              </a:rPr>
              <a:t>1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BC99D9BD-9F08-2E4D-DFD9-48870C611A0B}"/>
              </a:ext>
            </a:extLst>
          </p:cNvPr>
          <p:cNvSpPr txBox="1"/>
          <p:nvPr/>
        </p:nvSpPr>
        <p:spPr>
          <a:xfrm>
            <a:off x="3564401" y="1440085"/>
            <a:ext cx="518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>
                <a:solidFill>
                  <a:srgbClr val="DDEFF2"/>
                </a:solidFill>
              </a:rPr>
              <a:t>2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96449600-1B80-9497-E0C4-82DE49AF57C9}"/>
              </a:ext>
            </a:extLst>
          </p:cNvPr>
          <p:cNvSpPr txBox="1"/>
          <p:nvPr/>
        </p:nvSpPr>
        <p:spPr>
          <a:xfrm>
            <a:off x="5271475" y="1464772"/>
            <a:ext cx="518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>
                <a:solidFill>
                  <a:srgbClr val="DDEFF2"/>
                </a:solidFill>
              </a:rPr>
              <a:t>3</a:t>
            </a: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408E0487-3274-1F18-A115-8C1D7DAA7C32}"/>
              </a:ext>
            </a:extLst>
          </p:cNvPr>
          <p:cNvSpPr txBox="1"/>
          <p:nvPr/>
        </p:nvSpPr>
        <p:spPr>
          <a:xfrm>
            <a:off x="8677244" y="1454786"/>
            <a:ext cx="518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>
                <a:solidFill>
                  <a:srgbClr val="DDEFF2"/>
                </a:solidFill>
              </a:rPr>
              <a:t>5</a:t>
            </a: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732D1E6E-B361-972F-6927-ED760025B213}"/>
              </a:ext>
            </a:extLst>
          </p:cNvPr>
          <p:cNvSpPr txBox="1"/>
          <p:nvPr/>
        </p:nvSpPr>
        <p:spPr>
          <a:xfrm>
            <a:off x="6972109" y="1462605"/>
            <a:ext cx="51840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>
                <a:solidFill>
                  <a:srgbClr val="DDEFF2"/>
                </a:solidFill>
              </a:rPr>
              <a:t>4</a:t>
            </a:r>
          </a:p>
        </p:txBody>
      </p:sp>
      <p:sp>
        <p:nvSpPr>
          <p:cNvPr id="28" name="TextBox 60">
            <a:extLst>
              <a:ext uri="{FF2B5EF4-FFF2-40B4-BE49-F238E27FC236}">
                <a16:creationId xmlns:a16="http://schemas.microsoft.com/office/drawing/2014/main" id="{C0E8E985-35BA-2A19-D3D3-4D63C2D7FA08}"/>
              </a:ext>
            </a:extLst>
          </p:cNvPr>
          <p:cNvSpPr txBox="1"/>
          <p:nvPr/>
        </p:nvSpPr>
        <p:spPr>
          <a:xfrm>
            <a:off x="6644020" y="3624596"/>
            <a:ext cx="1633872" cy="14234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448"/>
              </a:lnSpc>
            </a:pP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u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exten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stack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lso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contain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individual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element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how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component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ntegrated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on a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data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roces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level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level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personalization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segmentation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Lato Light" panose="020F0502020204030203" pitchFamily="34" charset="0"/>
                <a:cs typeface="Poppins Light" pitchFamily="2" charset="77"/>
              </a:rPr>
              <a:t>.</a:t>
            </a:r>
          </a:p>
        </p:txBody>
      </p:sp>
      <p:sp>
        <p:nvSpPr>
          <p:cNvPr id="29" name="TextBox 75">
            <a:extLst>
              <a:ext uri="{FF2B5EF4-FFF2-40B4-BE49-F238E27FC236}">
                <a16:creationId xmlns:a16="http://schemas.microsoft.com/office/drawing/2014/main" id="{32A714C6-5A02-61F1-3240-741A92816585}"/>
              </a:ext>
            </a:extLst>
          </p:cNvPr>
          <p:cNvSpPr txBox="1"/>
          <p:nvPr/>
        </p:nvSpPr>
        <p:spPr>
          <a:xfrm>
            <a:off x="6639305" y="1779818"/>
            <a:ext cx="1184008" cy="70788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Integration,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automation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,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personalization</a:t>
            </a:r>
            <a:r>
              <a:rPr lang="de-DE" sz="1000" spc="-56" dirty="0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 </a:t>
            </a:r>
            <a:r>
              <a:rPr lang="de-DE" sz="1000" spc="-56" dirty="0" err="1">
                <a:solidFill>
                  <a:srgbClr val="0E4D65"/>
                </a:solidFill>
                <a:latin typeface="+mj-lt"/>
                <a:ea typeface="Lato" panose="020F0502020204030203" pitchFamily="34" charset="0"/>
                <a:cs typeface="Arial" panose="020B0604020202020204" pitchFamily="34" charset="0"/>
              </a:rPr>
              <a:t>level</a:t>
            </a:r>
            <a:endParaRPr lang="de-DE" sz="1000" spc="-56" dirty="0">
              <a:solidFill>
                <a:srgbClr val="0E4D65"/>
              </a:solidFill>
              <a:latin typeface="+mj-lt"/>
              <a:ea typeface="Lato" panose="020F0502020204030203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83140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ABCC8D35-5EC6-DF68-D42D-3B9178DF4F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61060A04-17CB-F87C-FEA2-37B1C530EA8E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AA2E1FF-C7C9-85BA-0DAC-03E2D8B001F8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CFD1C425-B9EC-5A50-8AC6-2631E00843E0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3461FA82-125D-CCEE-5C66-AFB677123153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E075A203-CF50-6D7E-6C9C-C3ED3476FE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315BEDD2-0F68-8303-CBE9-6849C0B64CB8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 err="1">
                <a:latin typeface="Kefa" panose="02000506000000020004" pitchFamily="2" charset="77"/>
              </a:rPr>
              <a:t>Your</a:t>
            </a:r>
            <a:r>
              <a:rPr lang="de-DE" b="1" dirty="0">
                <a:latin typeface="Kefa" panose="02000506000000020004" pitchFamily="2" charset="77"/>
              </a:rPr>
              <a:t> Marketing Tech Stack Image  </a:t>
            </a:r>
          </a:p>
        </p:txBody>
      </p:sp>
      <p:sp>
        <p:nvSpPr>
          <p:cNvPr id="7" name="Rectangle 8">
            <a:extLst>
              <a:ext uri="{FF2B5EF4-FFF2-40B4-BE49-F238E27FC236}">
                <a16:creationId xmlns:a16="http://schemas.microsoft.com/office/drawing/2014/main" id="{73A6A279-930F-CC21-7EAA-0C7199872A71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resent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visualization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 all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image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logo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name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tool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tech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building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block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-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either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by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functional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a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valu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reation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ustomer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journey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hase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r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 alternative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representation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. The Tech Stack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should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from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chemeClr val="tx1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 Management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Data Analytic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RM/CDP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Marketing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lanning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Resourc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nagement (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perations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&amp; Finance)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ersonalization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Components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Shop Web/App Components (E-Commerce)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Orchestration (e.g., Content, Bots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duct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 Data, Marketing Automation)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 and Channel Management (e.g., Display, SEA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Affiliate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Social</a:t>
            </a:r>
            <a:r>
              <a:rPr lang="de-DE" sz="1000" dirty="0">
                <a:solidFill>
                  <a:schemeClr val="tx1"/>
                </a:solidFill>
                <a:ea typeface="Roboto" panose="02000000000000000000" pitchFamily="2" charset="0"/>
                <a:cs typeface="Roboto" panose="02000000000000000000" pitchFamily="2" charset="0"/>
              </a:rPr>
              <a:t>, SEO, etc.)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7CA878A4-32D2-F889-46FA-3046617BF713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9ADC4B11-963F-CAD2-8B36-696420C9B0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4" name="Textfeld 33">
            <a:extLst>
              <a:ext uri="{FF2B5EF4-FFF2-40B4-BE49-F238E27FC236}">
                <a16:creationId xmlns:a16="http://schemas.microsoft.com/office/drawing/2014/main" id="{61A313D4-CF4B-CDDA-2B6B-C82219AE7FE5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35" name="Donut 27">
            <a:extLst>
              <a:ext uri="{FF2B5EF4-FFF2-40B4-BE49-F238E27FC236}">
                <a16:creationId xmlns:a16="http://schemas.microsoft.com/office/drawing/2014/main" id="{D0D2E974-7735-F5E5-388D-83626099A950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2761857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C21F02EB-5FAC-1B91-8636-16CA54218A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8621F470-31CA-862F-66B1-CFD31F108375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6274300-6DE3-A441-2AAC-501A1E63679B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890EABF4-932D-5B4E-93AF-B7F402AE7FF6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B820790C-9B4C-7EBB-4BB3-8F9F25672FF3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6DEFD88E-911A-A2B9-44D1-A38E71B8B4E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B1EA72F8-4954-CD4C-C8A9-0A802B7EEC15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>
                <a:latin typeface="Kefa" panose="02000506000000020004" pitchFamily="2" charset="77"/>
              </a:rPr>
              <a:t>Ihre Marketing Tech Stack Descriptio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FD280E0-0453-E6CB-3E2E-DAB9126184CF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B6B45BD1-B5D2-AD2B-FF15-BAF62AA1607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4D11D7D-1680-6103-A529-1CFEC0E6A9FF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B98E91DA-AB00-B203-E074-34F03E7E7612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plai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3-5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lid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ructur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a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llow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ques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guidan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an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urpo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ac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k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cis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a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ur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mplement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ng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nagem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su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how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vercom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ke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s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uppor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erm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"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fo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after"?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s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pecif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relevant KPIs.</a:t>
            </a:r>
          </a:p>
        </p:txBody>
      </p:sp>
      <p:sp>
        <p:nvSpPr>
          <p:cNvPr id="9" name="Donut 27">
            <a:extLst>
              <a:ext uri="{FF2B5EF4-FFF2-40B4-BE49-F238E27FC236}">
                <a16:creationId xmlns:a16="http://schemas.microsoft.com/office/drawing/2014/main" id="{0834E612-AD9F-1DC5-A493-CCB009622C60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2400749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6F81F991-06AE-0A6E-9310-5FE36FDCA6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hteck 31">
            <a:extLst>
              <a:ext uri="{FF2B5EF4-FFF2-40B4-BE49-F238E27FC236}">
                <a16:creationId xmlns:a16="http://schemas.microsoft.com/office/drawing/2014/main" id="{D7A8D5E0-B7E2-BABF-8635-60579D2FA01E}"/>
              </a:ext>
            </a:extLst>
          </p:cNvPr>
          <p:cNvSpPr/>
          <p:nvPr/>
        </p:nvSpPr>
        <p:spPr>
          <a:xfrm>
            <a:off x="9417299" y="136153"/>
            <a:ext cx="2651425" cy="7738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64D8775-9914-96B8-4E51-84B5D1B3347F}"/>
              </a:ext>
            </a:extLst>
          </p:cNvPr>
          <p:cNvSpPr>
            <a:spLocks/>
          </p:cNvSpPr>
          <p:nvPr/>
        </p:nvSpPr>
        <p:spPr>
          <a:xfrm>
            <a:off x="-1" y="1385"/>
            <a:ext cx="12192000" cy="6856615"/>
          </a:xfrm>
          <a:prstGeom prst="rect">
            <a:avLst/>
          </a:prstGeom>
          <a:gradFill>
            <a:gsLst>
              <a:gs pos="0">
                <a:srgbClr val="F9B401">
                  <a:lumMod val="77718"/>
                  <a:lumOff val="22282"/>
                </a:srgbClr>
              </a:gs>
              <a:gs pos="50000">
                <a:srgbClr val="F9B401">
                  <a:lumMod val="27559"/>
                  <a:lumOff val="72441"/>
                  <a:alpha val="78065"/>
                </a:srgbClr>
              </a:gs>
              <a:gs pos="100000">
                <a:srgbClr val="C5E5E6">
                  <a:lumMod val="51156"/>
                  <a:lumOff val="48844"/>
                  <a:alpha val="8500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811" dirty="0"/>
          </a:p>
        </p:txBody>
      </p:sp>
      <p:grpSp>
        <p:nvGrpSpPr>
          <p:cNvPr id="25" name="Gruppieren 24">
            <a:extLst>
              <a:ext uri="{FF2B5EF4-FFF2-40B4-BE49-F238E27FC236}">
                <a16:creationId xmlns:a16="http://schemas.microsoft.com/office/drawing/2014/main" id="{345218C4-7C03-0FCE-0DD5-BD190AE19247}"/>
              </a:ext>
            </a:extLst>
          </p:cNvPr>
          <p:cNvGrpSpPr>
            <a:grpSpLocks/>
          </p:cNvGrpSpPr>
          <p:nvPr/>
        </p:nvGrpSpPr>
        <p:grpSpPr>
          <a:xfrm>
            <a:off x="10126092" y="5837452"/>
            <a:ext cx="2065908" cy="1020551"/>
            <a:chOff x="13640723" y="13852530"/>
            <a:chExt cx="2782957" cy="1374769"/>
          </a:xfrm>
        </p:grpSpPr>
        <p:sp>
          <p:nvSpPr>
            <p:cNvPr id="15" name="Eine Ecke des Rechtecks abrunden 14">
              <a:extLst>
                <a:ext uri="{FF2B5EF4-FFF2-40B4-BE49-F238E27FC236}">
                  <a16:creationId xmlns:a16="http://schemas.microsoft.com/office/drawing/2014/main" id="{F465B708-A9E6-BEC4-8CB5-79F2512E0947}"/>
                </a:ext>
              </a:extLst>
            </p:cNvPr>
            <p:cNvSpPr>
              <a:spLocks/>
            </p:cNvSpPr>
            <p:nvPr/>
          </p:nvSpPr>
          <p:spPr>
            <a:xfrm flipH="1">
              <a:off x="13640723" y="13854395"/>
              <a:ext cx="2782957" cy="1372904"/>
            </a:xfrm>
            <a:prstGeom prst="round1Rect">
              <a:avLst/>
            </a:prstGeom>
            <a:solidFill>
              <a:srgbClr val="176D7E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811"/>
            </a:p>
          </p:txBody>
        </p:sp>
        <p:pic>
          <p:nvPicPr>
            <p:cNvPr id="17" name="Grafik 16" descr="Ein Bild, das Schrift, Text, Screenshot, Grafiken enthält.&#10;&#10;Automatisch generierte Beschreibung">
              <a:extLst>
                <a:ext uri="{FF2B5EF4-FFF2-40B4-BE49-F238E27FC236}">
                  <a16:creationId xmlns:a16="http://schemas.microsoft.com/office/drawing/2014/main" id="{E07D2D72-80C4-E57C-207D-259135132E6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81556" y="13852530"/>
              <a:ext cx="2276060" cy="1372904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5" name="Titel 4">
            <a:extLst>
              <a:ext uri="{FF2B5EF4-FFF2-40B4-BE49-F238E27FC236}">
                <a16:creationId xmlns:a16="http://schemas.microsoft.com/office/drawing/2014/main" id="{D58E29F5-9949-3BB6-C10C-251667657CC0}"/>
              </a:ext>
            </a:extLst>
          </p:cNvPr>
          <p:cNvSpPr txBox="1">
            <a:spLocks/>
          </p:cNvSpPr>
          <p:nvPr/>
        </p:nvSpPr>
        <p:spPr>
          <a:xfrm>
            <a:off x="661331" y="305969"/>
            <a:ext cx="6958672" cy="31591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Segoe UI Semibold" panose="020B0702040204020203" pitchFamily="34" charset="0"/>
              </a:defRPr>
            </a:lvl1pPr>
          </a:lstStyle>
          <a:p>
            <a:r>
              <a:rPr lang="de-DE" b="1" dirty="0">
                <a:latin typeface="Kefa" panose="02000506000000020004" pitchFamily="2" charset="77"/>
              </a:rPr>
              <a:t>Ihre Marketing Tech Stack Description 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24999C54-8ECC-EA5D-DF00-F7FB50764ABA}"/>
              </a:ext>
            </a:extLst>
          </p:cNvPr>
          <p:cNvSpPr txBox="1">
            <a:spLocks/>
          </p:cNvSpPr>
          <p:nvPr/>
        </p:nvSpPr>
        <p:spPr>
          <a:xfrm>
            <a:off x="95250" y="1419225"/>
            <a:ext cx="2667000" cy="487838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27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4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1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08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Symbol" panose="05050102010706020507" pitchFamily="18" charset="2"/>
              <a:buChar char="-"/>
              <a:defRPr lang="de-DE" sz="14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350000" indent="-270000" algn="l" defTabSz="685800" rtl="0" eaLnBrk="1" latinLnBrk="0" hangingPunct="1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de-DE" sz="1200" dirty="0">
              <a:solidFill>
                <a:schemeClr val="tx1"/>
              </a:solidFill>
              <a:ea typeface="Roboto Light"/>
            </a:endParaRP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B643B1BC-0322-72B5-481B-3A85E9DC27F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237607" y="0"/>
            <a:ext cx="1972619" cy="1110132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8217826D-B1FC-56E9-386B-AD57758A2D2A}"/>
              </a:ext>
            </a:extLst>
          </p:cNvPr>
          <p:cNvSpPr txBox="1"/>
          <p:nvPr/>
        </p:nvSpPr>
        <p:spPr>
          <a:xfrm>
            <a:off x="3107094" y="1309688"/>
            <a:ext cx="8649477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…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6" name="Rectangle 8">
            <a:extLst>
              <a:ext uri="{FF2B5EF4-FFF2-40B4-BE49-F238E27FC236}">
                <a16:creationId xmlns:a16="http://schemas.microsoft.com/office/drawing/2014/main" id="{8D4C3E2C-7274-E504-0FCA-8BDE3FF5383D}"/>
              </a:ext>
            </a:extLst>
          </p:cNvPr>
          <p:cNvSpPr/>
          <p:nvPr/>
        </p:nvSpPr>
        <p:spPr>
          <a:xfrm>
            <a:off x="-1" y="1309688"/>
            <a:ext cx="2857501" cy="5548312"/>
          </a:xfrm>
          <a:prstGeom prst="round2SameRect">
            <a:avLst/>
          </a:prstGeom>
          <a:solidFill>
            <a:srgbClr val="DDEF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rtlCol="0" anchor="t"/>
          <a:lstStyle/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xplai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Marketing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o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3-5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lid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scrib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tructure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a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.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llow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questio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guidan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: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an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it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o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urpo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d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each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ompon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k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i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ecis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lleng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fac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ur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mplementation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ncluding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hang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managemen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issu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, and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how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vercom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a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your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ke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u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se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campaign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upport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?</a:t>
            </a:r>
          </a:p>
          <a:p>
            <a:pPr marL="171450" indent="-17145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What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roblem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did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h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Tech Stack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olv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in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terms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of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"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befor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/after"?</a:t>
            </a: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endParaRPr lang="de-DE" sz="1000" dirty="0">
              <a:solidFill>
                <a:srgbClr val="0E4D65"/>
              </a:solidFill>
              <a:ea typeface="Roboto" panose="02000000000000000000" pitchFamily="2" charset="0"/>
              <a:cs typeface="Roboto" panose="02000000000000000000" pitchFamily="2" charset="0"/>
            </a:endParaRPr>
          </a:p>
          <a:p>
            <a:pPr marL="0" indent="0">
              <a:lnSpc>
                <a:spcPct val="110000"/>
              </a:lnSpc>
              <a:buFont typeface="Arial" panose="020B0604020202020204" pitchFamily="34" charset="0"/>
              <a:buNone/>
            </a:pP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Please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also </a:t>
            </a:r>
            <a:r>
              <a:rPr lang="de-DE" sz="1000" dirty="0" err="1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specify</a:t>
            </a:r>
            <a:r>
              <a:rPr lang="de-DE" sz="1000" dirty="0">
                <a:solidFill>
                  <a:srgbClr val="0E4D65"/>
                </a:solidFill>
                <a:ea typeface="Roboto" panose="02000000000000000000" pitchFamily="2" charset="0"/>
                <a:cs typeface="Roboto" panose="02000000000000000000" pitchFamily="2" charset="0"/>
              </a:rPr>
              <a:t> relevant KPIs.</a:t>
            </a:r>
          </a:p>
        </p:txBody>
      </p:sp>
      <p:sp>
        <p:nvSpPr>
          <p:cNvPr id="9" name="Donut 27">
            <a:extLst>
              <a:ext uri="{FF2B5EF4-FFF2-40B4-BE49-F238E27FC236}">
                <a16:creationId xmlns:a16="http://schemas.microsoft.com/office/drawing/2014/main" id="{DBEA8386-042D-62B5-3566-6A94A024CC94}"/>
              </a:ext>
            </a:extLst>
          </p:cNvPr>
          <p:cNvSpPr/>
          <p:nvPr/>
        </p:nvSpPr>
        <p:spPr>
          <a:xfrm>
            <a:off x="61758" y="310802"/>
            <a:ext cx="599573" cy="424557"/>
          </a:xfrm>
          <a:custGeom>
            <a:avLst/>
            <a:gdLst/>
            <a:ahLst/>
            <a:cxnLst/>
            <a:rect l="l" t="t" r="r" b="b"/>
            <a:pathLst>
              <a:path w="1824052" h="1260000">
                <a:moveTo>
                  <a:pt x="630000" y="197051"/>
                </a:moveTo>
                <a:cubicBezTo>
                  <a:pt x="390889" y="197051"/>
                  <a:pt x="197051" y="390889"/>
                  <a:pt x="197051" y="630000"/>
                </a:cubicBezTo>
                <a:cubicBezTo>
                  <a:pt x="197051" y="869111"/>
                  <a:pt x="390889" y="1062949"/>
                  <a:pt x="630000" y="1062949"/>
                </a:cubicBezTo>
                <a:cubicBezTo>
                  <a:pt x="869111" y="1062949"/>
                  <a:pt x="1062949" y="869111"/>
                  <a:pt x="1062949" y="630000"/>
                </a:cubicBezTo>
                <a:cubicBezTo>
                  <a:pt x="1062949" y="390889"/>
                  <a:pt x="869111" y="197051"/>
                  <a:pt x="630000" y="197051"/>
                </a:cubicBezTo>
                <a:close/>
                <a:moveTo>
                  <a:pt x="630000" y="0"/>
                </a:moveTo>
                <a:cubicBezTo>
                  <a:pt x="948367" y="0"/>
                  <a:pt x="1211578" y="236152"/>
                  <a:pt x="1251252" y="543226"/>
                </a:cubicBezTo>
                <a:lnTo>
                  <a:pt x="1571198" y="543226"/>
                </a:lnTo>
                <a:lnTo>
                  <a:pt x="1445980" y="387684"/>
                </a:lnTo>
                <a:lnTo>
                  <a:pt x="1628978" y="387684"/>
                </a:lnTo>
                <a:lnTo>
                  <a:pt x="1824052" y="630000"/>
                </a:lnTo>
                <a:lnTo>
                  <a:pt x="1628978" y="872316"/>
                </a:lnTo>
                <a:lnTo>
                  <a:pt x="1445980" y="872316"/>
                </a:lnTo>
                <a:lnTo>
                  <a:pt x="1566003" y="723226"/>
                </a:lnTo>
                <a:lnTo>
                  <a:pt x="1250602" y="723226"/>
                </a:lnTo>
                <a:cubicBezTo>
                  <a:pt x="1207884" y="1027148"/>
                  <a:pt x="946134" y="1260000"/>
                  <a:pt x="630000" y="1260000"/>
                </a:cubicBezTo>
                <a:cubicBezTo>
                  <a:pt x="282061" y="1260000"/>
                  <a:pt x="0" y="977939"/>
                  <a:pt x="0" y="630000"/>
                </a:cubicBezTo>
                <a:cubicBezTo>
                  <a:pt x="0" y="282061"/>
                  <a:pt x="282061" y="0"/>
                  <a:pt x="630000" y="0"/>
                </a:cubicBezTo>
                <a:close/>
              </a:path>
            </a:pathLst>
          </a:custGeom>
          <a:solidFill>
            <a:schemeClr val="dk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0" rIns="198000" rtlCol="0" anchor="ctr"/>
          <a:lstStyle/>
          <a:p>
            <a:pPr algn="ctr"/>
            <a:r>
              <a:rPr lang="de-DE" altLang="ko-KR" sz="1400" dirty="0">
                <a:solidFill>
                  <a:srgbClr val="0E4D65"/>
                </a:solidFill>
                <a:latin typeface="+mj-lt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655440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">
  <a:themeElements>
    <a:clrScheme name="MarketingTechLab">
      <a:dk1>
        <a:srgbClr val="224F68"/>
      </a:dk1>
      <a:lt1>
        <a:sysClr val="window" lastClr="FFFFFF"/>
      </a:lt1>
      <a:dk2>
        <a:srgbClr val="5F5F5F"/>
      </a:dk2>
      <a:lt2>
        <a:srgbClr val="C3E4E9"/>
      </a:lt2>
      <a:accent1>
        <a:srgbClr val="70C6D1"/>
      </a:accent1>
      <a:accent2>
        <a:srgbClr val="008B96"/>
      </a:accent2>
      <a:accent3>
        <a:srgbClr val="F9B200"/>
      </a:accent3>
      <a:accent4>
        <a:srgbClr val="F6E32E"/>
      </a:accent4>
      <a:accent5>
        <a:srgbClr val="923589"/>
      </a:accent5>
      <a:accent6>
        <a:srgbClr val="8DBD4A"/>
      </a:accent6>
      <a:hlink>
        <a:srgbClr val="224F68"/>
      </a:hlink>
      <a:folHlink>
        <a:srgbClr val="224F68"/>
      </a:folHlink>
    </a:clrScheme>
    <a:fontScheme name="MarketingTechLab">
      <a:majorFont>
        <a:latin typeface="Roboto Medium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2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3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4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5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6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7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8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ppt/theme/themeOverride9.xml><?xml version="1.0" encoding="utf-8"?>
<a:themeOverride xmlns:a="http://schemas.openxmlformats.org/drawingml/2006/main">
  <a:clrScheme name="MarketingTechLab">
    <a:dk1>
      <a:srgbClr val="224F68"/>
    </a:dk1>
    <a:lt1>
      <a:sysClr val="window" lastClr="FFFFFF"/>
    </a:lt1>
    <a:dk2>
      <a:srgbClr val="5F5F5F"/>
    </a:dk2>
    <a:lt2>
      <a:srgbClr val="C3E4E9"/>
    </a:lt2>
    <a:accent1>
      <a:srgbClr val="70C6D1"/>
    </a:accent1>
    <a:accent2>
      <a:srgbClr val="008B96"/>
    </a:accent2>
    <a:accent3>
      <a:srgbClr val="F9B200"/>
    </a:accent3>
    <a:accent4>
      <a:srgbClr val="F6E32E"/>
    </a:accent4>
    <a:accent5>
      <a:srgbClr val="923589"/>
    </a:accent5>
    <a:accent6>
      <a:srgbClr val="8DBD4A"/>
    </a:accent6>
    <a:hlink>
      <a:srgbClr val="224F68"/>
    </a:hlink>
    <a:folHlink>
      <a:srgbClr val="224F6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23</Words>
  <Application>Microsoft Macintosh PowerPoint</Application>
  <PresentationFormat>Breitbild</PresentationFormat>
  <Paragraphs>301</Paragraphs>
  <Slides>25</Slides>
  <Notes>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1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9" baseType="lpstr">
      <vt:lpstr>Aptos</vt:lpstr>
      <vt:lpstr>Aptos Display</vt:lpstr>
      <vt:lpstr>Arial</vt:lpstr>
      <vt:lpstr>Kefa</vt:lpstr>
      <vt:lpstr>Kefa II Pro Book</vt:lpstr>
      <vt:lpstr>Kefa II Pro Medium</vt:lpstr>
      <vt:lpstr>Lato Light</vt:lpstr>
      <vt:lpstr>Roboto</vt:lpstr>
      <vt:lpstr>Roboto Light</vt:lpstr>
      <vt:lpstr>Roboto Medium</vt:lpstr>
      <vt:lpstr>Symbol</vt:lpstr>
      <vt:lpstr>Office</vt:lpstr>
      <vt:lpstr>1_Offic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ise Dümdüz</dc:creator>
  <cp:lastModifiedBy>Micha</cp:lastModifiedBy>
  <cp:revision>64</cp:revision>
  <dcterms:created xsi:type="dcterms:W3CDTF">2024-01-22T15:00:03Z</dcterms:created>
  <dcterms:modified xsi:type="dcterms:W3CDTF">2024-02-14T09:43:00Z</dcterms:modified>
</cp:coreProperties>
</file>